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ink/ink1.xml" ContentType="application/inkml+xml"/>
  <Override PartName="/ppt/ink/ink2.xml" ContentType="application/inkml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57" r:id="rId2"/>
  </p:sldMasterIdLst>
  <p:notesMasterIdLst>
    <p:notesMasterId r:id="rId44"/>
  </p:notesMasterIdLst>
  <p:sldIdLst>
    <p:sldId id="256" r:id="rId3"/>
    <p:sldId id="285" r:id="rId4"/>
    <p:sldId id="286" r:id="rId5"/>
    <p:sldId id="259" r:id="rId6"/>
    <p:sldId id="287" r:id="rId7"/>
    <p:sldId id="260" r:id="rId8"/>
    <p:sldId id="288" r:id="rId9"/>
    <p:sldId id="289" r:id="rId10"/>
    <p:sldId id="290" r:id="rId11"/>
    <p:sldId id="295" r:id="rId12"/>
    <p:sldId id="296" r:id="rId13"/>
    <p:sldId id="291" r:id="rId14"/>
    <p:sldId id="261" r:id="rId15"/>
    <p:sldId id="265" r:id="rId16"/>
    <p:sldId id="262" r:id="rId17"/>
    <p:sldId id="263" r:id="rId18"/>
    <p:sldId id="264" r:id="rId19"/>
    <p:sldId id="266" r:id="rId20"/>
    <p:sldId id="267" r:id="rId21"/>
    <p:sldId id="268" r:id="rId22"/>
    <p:sldId id="269" r:id="rId23"/>
    <p:sldId id="271" r:id="rId24"/>
    <p:sldId id="270" r:id="rId25"/>
    <p:sldId id="272" r:id="rId26"/>
    <p:sldId id="273" r:id="rId27"/>
    <p:sldId id="274" r:id="rId28"/>
    <p:sldId id="275" r:id="rId29"/>
    <p:sldId id="276" r:id="rId30"/>
    <p:sldId id="277" r:id="rId31"/>
    <p:sldId id="278" r:id="rId32"/>
    <p:sldId id="279" r:id="rId33"/>
    <p:sldId id="297" r:id="rId34"/>
    <p:sldId id="282" r:id="rId35"/>
    <p:sldId id="283" r:id="rId36"/>
    <p:sldId id="298" r:id="rId37"/>
    <p:sldId id="299" r:id="rId38"/>
    <p:sldId id="281" r:id="rId39"/>
    <p:sldId id="280" r:id="rId40"/>
    <p:sldId id="300" r:id="rId41"/>
    <p:sldId id="301" r:id="rId42"/>
    <p:sldId id="294" r:id="rId43"/>
  </p:sldIdLst>
  <p:sldSz cx="12195175" cy="6859588"/>
  <p:notesSz cx="6858000" cy="9144000"/>
  <p:defaultTextStyle>
    <a:defPPr>
      <a:defRPr lang="en-US"/>
    </a:defPPr>
    <a:lvl1pPr marL="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38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77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16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A0"/>
    <a:srgbClr val="0000FF"/>
    <a:srgbClr val="E5F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5A74F01-1A80-4AB9-A63B-4C1C2AD7092E}" v="13" dt="2024-01-16T15:35:04.1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83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tableStyles" Target="tableStyles.xml"/><Relationship Id="rId8" Type="http://schemas.openxmlformats.org/officeDocument/2006/relationships/slide" Target="slides/slide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BC4745A-2C4D-9B44-9921-6C7C1A43FF0E}" type="doc">
      <dgm:prSet loTypeId="urn:microsoft.com/office/officeart/2005/8/layout/pyramid1" loCatId="" qsTypeId="urn:microsoft.com/office/officeart/2005/8/quickstyle/simple1" qsCatId="simple" csTypeId="urn:microsoft.com/office/officeart/2005/8/colors/accent1_2" csCatId="accent1" phldr="1"/>
      <dgm:spPr/>
    </dgm:pt>
    <dgm:pt modelId="{724DEF54-683E-FE43-996B-251822867884}">
      <dgm:prSet phldrT="[Tekst]" custT="1"/>
      <dgm:spPr/>
      <dgm:t>
        <a:bodyPr/>
        <a:lstStyle/>
        <a:p>
          <a:endParaRPr lang="pl-PL" sz="2400"/>
        </a:p>
        <a:p>
          <a:r>
            <a:rPr lang="pl-PL" sz="2400" err="1">
              <a:solidFill>
                <a:schemeClr val="bg1"/>
              </a:solidFill>
            </a:rPr>
            <a:t>Prompt</a:t>
          </a:r>
          <a:endParaRPr lang="pl-PL" sz="2400">
            <a:solidFill>
              <a:schemeClr val="bg1"/>
            </a:solidFill>
          </a:endParaRPr>
        </a:p>
      </dgm:t>
    </dgm:pt>
    <dgm:pt modelId="{AD160FB9-218A-2A42-B7FB-8F24C6E72F7E}" type="parTrans" cxnId="{3AE23BA6-8651-BA4C-9067-2895031A5716}">
      <dgm:prSet/>
      <dgm:spPr/>
      <dgm:t>
        <a:bodyPr/>
        <a:lstStyle/>
        <a:p>
          <a:endParaRPr lang="pl-PL" sz="2400"/>
        </a:p>
      </dgm:t>
    </dgm:pt>
    <dgm:pt modelId="{D86D86DB-67A7-9A4A-92A1-180B51B4A8D1}" type="sibTrans" cxnId="{3AE23BA6-8651-BA4C-9067-2895031A5716}">
      <dgm:prSet/>
      <dgm:spPr/>
      <dgm:t>
        <a:bodyPr/>
        <a:lstStyle/>
        <a:p>
          <a:endParaRPr lang="pl-PL" sz="2400"/>
        </a:p>
      </dgm:t>
    </dgm:pt>
    <dgm:pt modelId="{AB0EDFF0-83BE-1342-8B8F-270196674623}">
      <dgm:prSet phldrT="[Tekst]" custT="1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pl-PL" sz="2400" dirty="0"/>
            <a:t>Java, </a:t>
          </a:r>
          <a:r>
            <a:rPr lang="pl-PL" sz="2400" dirty="0" err="1"/>
            <a:t>Python</a:t>
          </a:r>
          <a:r>
            <a:rPr lang="pl-PL" sz="2400" dirty="0"/>
            <a:t>,</a:t>
          </a:r>
          <a:r>
            <a:rPr lang="en-US" sz="2400" dirty="0"/>
            <a:t> </a:t>
          </a:r>
          <a:r>
            <a:rPr lang="pl-PL" sz="2400" dirty="0"/>
            <a:t>C#</a:t>
          </a:r>
        </a:p>
      </dgm:t>
    </dgm:pt>
    <dgm:pt modelId="{6C90F67A-0BF1-6D4A-81D7-26FA4A123D24}" type="parTrans" cxnId="{B0C3CF09-2B82-8641-BDAC-7E91FE97B34F}">
      <dgm:prSet/>
      <dgm:spPr/>
      <dgm:t>
        <a:bodyPr/>
        <a:lstStyle/>
        <a:p>
          <a:endParaRPr lang="pl-PL" sz="2400"/>
        </a:p>
      </dgm:t>
    </dgm:pt>
    <dgm:pt modelId="{D0C3B4B3-257C-904B-85B4-25833FB62228}" type="sibTrans" cxnId="{B0C3CF09-2B82-8641-BDAC-7E91FE97B34F}">
      <dgm:prSet/>
      <dgm:spPr/>
      <dgm:t>
        <a:bodyPr/>
        <a:lstStyle/>
        <a:p>
          <a:endParaRPr lang="pl-PL" sz="2400"/>
        </a:p>
      </dgm:t>
    </dgm:pt>
    <dgm:pt modelId="{8509BC44-6649-B242-AFD8-C5E8D2FB2121}">
      <dgm:prSet phldrT="[Teks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l-PL" sz="2400">
              <a:solidFill>
                <a:schemeClr val="bg1"/>
              </a:solidFill>
            </a:rPr>
            <a:t>C/C++</a:t>
          </a:r>
        </a:p>
      </dgm:t>
    </dgm:pt>
    <dgm:pt modelId="{965450F9-AB8E-1945-BBE6-3AF82DD05DBA}" type="parTrans" cxnId="{75C38813-22E1-2E4E-8C39-3A6532C0A5AB}">
      <dgm:prSet/>
      <dgm:spPr/>
      <dgm:t>
        <a:bodyPr/>
        <a:lstStyle/>
        <a:p>
          <a:endParaRPr lang="pl-PL" sz="2400"/>
        </a:p>
      </dgm:t>
    </dgm:pt>
    <dgm:pt modelId="{76CA36BF-0D49-904E-BF03-110578FAF2C2}" type="sibTrans" cxnId="{75C38813-22E1-2E4E-8C39-3A6532C0A5AB}">
      <dgm:prSet/>
      <dgm:spPr/>
      <dgm:t>
        <a:bodyPr/>
        <a:lstStyle/>
        <a:p>
          <a:endParaRPr lang="pl-PL" sz="2400"/>
        </a:p>
      </dgm:t>
    </dgm:pt>
    <dgm:pt modelId="{841BC43D-8B82-B849-96AE-0E7EC4965C2A}" type="pres">
      <dgm:prSet presAssocID="{0BC4745A-2C4D-9B44-9921-6C7C1A43FF0E}" presName="Name0" presStyleCnt="0">
        <dgm:presLayoutVars>
          <dgm:dir/>
          <dgm:animLvl val="lvl"/>
          <dgm:resizeHandles val="exact"/>
        </dgm:presLayoutVars>
      </dgm:prSet>
      <dgm:spPr/>
    </dgm:pt>
    <dgm:pt modelId="{449262B2-7471-454B-B51A-2CB624869530}" type="pres">
      <dgm:prSet presAssocID="{724DEF54-683E-FE43-996B-251822867884}" presName="Name8" presStyleCnt="0"/>
      <dgm:spPr/>
    </dgm:pt>
    <dgm:pt modelId="{A9F94B34-591A-024C-A9F2-A97C396456E0}" type="pres">
      <dgm:prSet presAssocID="{724DEF54-683E-FE43-996B-251822867884}" presName="level" presStyleLbl="node1" presStyleIdx="0" presStyleCnt="3">
        <dgm:presLayoutVars>
          <dgm:chMax val="1"/>
          <dgm:bulletEnabled val="1"/>
        </dgm:presLayoutVars>
      </dgm:prSet>
      <dgm:spPr/>
    </dgm:pt>
    <dgm:pt modelId="{0149A6E4-1A08-694E-A23D-F0B9C145256D}" type="pres">
      <dgm:prSet presAssocID="{724DEF54-683E-FE43-996B-25182286788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A86E3CA-E813-C04C-9AA7-89B534BE3F7D}" type="pres">
      <dgm:prSet presAssocID="{AB0EDFF0-83BE-1342-8B8F-270196674623}" presName="Name8" presStyleCnt="0"/>
      <dgm:spPr/>
    </dgm:pt>
    <dgm:pt modelId="{56BD81FD-F78A-354A-AE87-575D456CD18B}" type="pres">
      <dgm:prSet presAssocID="{AB0EDFF0-83BE-1342-8B8F-270196674623}" presName="level" presStyleLbl="node1" presStyleIdx="1" presStyleCnt="3">
        <dgm:presLayoutVars>
          <dgm:chMax val="1"/>
          <dgm:bulletEnabled val="1"/>
        </dgm:presLayoutVars>
      </dgm:prSet>
      <dgm:spPr/>
    </dgm:pt>
    <dgm:pt modelId="{21C33508-B0E6-A346-AC93-9CB8A13CBEF7}" type="pres">
      <dgm:prSet presAssocID="{AB0EDFF0-83BE-1342-8B8F-27019667462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3AE53D6-644E-B94D-BFCD-1344BBEB6FED}" type="pres">
      <dgm:prSet presAssocID="{8509BC44-6649-B242-AFD8-C5E8D2FB2121}" presName="Name8" presStyleCnt="0"/>
      <dgm:spPr/>
    </dgm:pt>
    <dgm:pt modelId="{7F45041D-DEDF-9941-9AA0-50819F1453C8}" type="pres">
      <dgm:prSet presAssocID="{8509BC44-6649-B242-AFD8-C5E8D2FB2121}" presName="level" presStyleLbl="node1" presStyleIdx="2" presStyleCnt="3" custLinFactNeighborX="-14261" custLinFactNeighborY="-360">
        <dgm:presLayoutVars>
          <dgm:chMax val="1"/>
          <dgm:bulletEnabled val="1"/>
        </dgm:presLayoutVars>
      </dgm:prSet>
      <dgm:spPr/>
    </dgm:pt>
    <dgm:pt modelId="{BE888BA7-1B7E-8E4B-8CEE-BBBB84D47285}" type="pres">
      <dgm:prSet presAssocID="{8509BC44-6649-B242-AFD8-C5E8D2FB2121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497C8203-CB83-F742-9B8C-B9E1ED3C9761}" type="presOf" srcId="{0BC4745A-2C4D-9B44-9921-6C7C1A43FF0E}" destId="{841BC43D-8B82-B849-96AE-0E7EC4965C2A}" srcOrd="0" destOrd="0" presId="urn:microsoft.com/office/officeart/2005/8/layout/pyramid1"/>
    <dgm:cxn modelId="{B0C3CF09-2B82-8641-BDAC-7E91FE97B34F}" srcId="{0BC4745A-2C4D-9B44-9921-6C7C1A43FF0E}" destId="{AB0EDFF0-83BE-1342-8B8F-270196674623}" srcOrd="1" destOrd="0" parTransId="{6C90F67A-0BF1-6D4A-81D7-26FA4A123D24}" sibTransId="{D0C3B4B3-257C-904B-85B4-25833FB62228}"/>
    <dgm:cxn modelId="{75C38813-22E1-2E4E-8C39-3A6532C0A5AB}" srcId="{0BC4745A-2C4D-9B44-9921-6C7C1A43FF0E}" destId="{8509BC44-6649-B242-AFD8-C5E8D2FB2121}" srcOrd="2" destOrd="0" parTransId="{965450F9-AB8E-1945-BBE6-3AF82DD05DBA}" sibTransId="{76CA36BF-0D49-904E-BF03-110578FAF2C2}"/>
    <dgm:cxn modelId="{A3F8C215-F706-AB40-A909-71A12C1825F7}" type="presOf" srcId="{8509BC44-6649-B242-AFD8-C5E8D2FB2121}" destId="{7F45041D-DEDF-9941-9AA0-50819F1453C8}" srcOrd="0" destOrd="0" presId="urn:microsoft.com/office/officeart/2005/8/layout/pyramid1"/>
    <dgm:cxn modelId="{B019346B-CFBB-0143-B8BD-BCFF5E0963AD}" type="presOf" srcId="{724DEF54-683E-FE43-996B-251822867884}" destId="{0149A6E4-1A08-694E-A23D-F0B9C145256D}" srcOrd="1" destOrd="0" presId="urn:microsoft.com/office/officeart/2005/8/layout/pyramid1"/>
    <dgm:cxn modelId="{94333A4B-D101-E343-8049-A051BB772097}" type="presOf" srcId="{8509BC44-6649-B242-AFD8-C5E8D2FB2121}" destId="{BE888BA7-1B7E-8E4B-8CEE-BBBB84D47285}" srcOrd="1" destOrd="0" presId="urn:microsoft.com/office/officeart/2005/8/layout/pyramid1"/>
    <dgm:cxn modelId="{63AA7755-B307-AA42-9AFF-A4C2EA19E162}" type="presOf" srcId="{AB0EDFF0-83BE-1342-8B8F-270196674623}" destId="{56BD81FD-F78A-354A-AE87-575D456CD18B}" srcOrd="0" destOrd="0" presId="urn:microsoft.com/office/officeart/2005/8/layout/pyramid1"/>
    <dgm:cxn modelId="{7AEFB695-12CD-4841-BE1C-5BB6D6374B96}" type="presOf" srcId="{AB0EDFF0-83BE-1342-8B8F-270196674623}" destId="{21C33508-B0E6-A346-AC93-9CB8A13CBEF7}" srcOrd="1" destOrd="0" presId="urn:microsoft.com/office/officeart/2005/8/layout/pyramid1"/>
    <dgm:cxn modelId="{3AE23BA6-8651-BA4C-9067-2895031A5716}" srcId="{0BC4745A-2C4D-9B44-9921-6C7C1A43FF0E}" destId="{724DEF54-683E-FE43-996B-251822867884}" srcOrd="0" destOrd="0" parTransId="{AD160FB9-218A-2A42-B7FB-8F24C6E72F7E}" sibTransId="{D86D86DB-67A7-9A4A-92A1-180B51B4A8D1}"/>
    <dgm:cxn modelId="{181B89F0-B535-7441-B428-30A91F1CB74A}" type="presOf" srcId="{724DEF54-683E-FE43-996B-251822867884}" destId="{A9F94B34-591A-024C-A9F2-A97C396456E0}" srcOrd="0" destOrd="0" presId="urn:microsoft.com/office/officeart/2005/8/layout/pyramid1"/>
    <dgm:cxn modelId="{9C178E20-765D-8B44-89A7-164032B3DA79}" type="presParOf" srcId="{841BC43D-8B82-B849-96AE-0E7EC4965C2A}" destId="{449262B2-7471-454B-B51A-2CB624869530}" srcOrd="0" destOrd="0" presId="urn:microsoft.com/office/officeart/2005/8/layout/pyramid1"/>
    <dgm:cxn modelId="{969CAA02-E70A-C942-B66A-E654664478EF}" type="presParOf" srcId="{449262B2-7471-454B-B51A-2CB624869530}" destId="{A9F94B34-591A-024C-A9F2-A97C396456E0}" srcOrd="0" destOrd="0" presId="urn:microsoft.com/office/officeart/2005/8/layout/pyramid1"/>
    <dgm:cxn modelId="{0AD71327-9D10-FD4F-B119-D1DB05C9CA47}" type="presParOf" srcId="{449262B2-7471-454B-B51A-2CB624869530}" destId="{0149A6E4-1A08-694E-A23D-F0B9C145256D}" srcOrd="1" destOrd="0" presId="urn:microsoft.com/office/officeart/2005/8/layout/pyramid1"/>
    <dgm:cxn modelId="{B60ED179-9094-F14E-90AC-9C18692E9515}" type="presParOf" srcId="{841BC43D-8B82-B849-96AE-0E7EC4965C2A}" destId="{0A86E3CA-E813-C04C-9AA7-89B534BE3F7D}" srcOrd="1" destOrd="0" presId="urn:microsoft.com/office/officeart/2005/8/layout/pyramid1"/>
    <dgm:cxn modelId="{1CAB93FF-141A-C94C-A6F6-791AF1B281BF}" type="presParOf" srcId="{0A86E3CA-E813-C04C-9AA7-89B534BE3F7D}" destId="{56BD81FD-F78A-354A-AE87-575D456CD18B}" srcOrd="0" destOrd="0" presId="urn:microsoft.com/office/officeart/2005/8/layout/pyramid1"/>
    <dgm:cxn modelId="{80B7189A-F513-F74C-BF5B-1E4061604B6D}" type="presParOf" srcId="{0A86E3CA-E813-C04C-9AA7-89B534BE3F7D}" destId="{21C33508-B0E6-A346-AC93-9CB8A13CBEF7}" srcOrd="1" destOrd="0" presId="urn:microsoft.com/office/officeart/2005/8/layout/pyramid1"/>
    <dgm:cxn modelId="{173969FC-B992-5D45-A41F-45DB623454B0}" type="presParOf" srcId="{841BC43D-8B82-B849-96AE-0E7EC4965C2A}" destId="{73AE53D6-644E-B94D-BFCD-1344BBEB6FED}" srcOrd="2" destOrd="0" presId="urn:microsoft.com/office/officeart/2005/8/layout/pyramid1"/>
    <dgm:cxn modelId="{A3D542B3-B278-8E44-BC3E-B31F6E388EB6}" type="presParOf" srcId="{73AE53D6-644E-B94D-BFCD-1344BBEB6FED}" destId="{7F45041D-DEDF-9941-9AA0-50819F1453C8}" srcOrd="0" destOrd="0" presId="urn:microsoft.com/office/officeart/2005/8/layout/pyramid1"/>
    <dgm:cxn modelId="{9885DDD2-9D9F-1648-8B1B-861370A526ED}" type="presParOf" srcId="{73AE53D6-644E-B94D-BFCD-1344BBEB6FED}" destId="{BE888BA7-1B7E-8E4B-8CEE-BBBB84D47285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B24E010-7BB3-8D42-AE51-6BB470E0FDE7}" type="doc">
      <dgm:prSet loTypeId="urn:microsoft.com/office/officeart/2005/8/layout/vList2" loCatId="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pl-PL"/>
        </a:p>
      </dgm:t>
    </dgm:pt>
    <dgm:pt modelId="{AFB5EBB5-D12A-0046-AD64-F2D121EAFE2D}">
      <dgm:prSet phldrT="[Tekst]"/>
      <dgm:spPr>
        <a:solidFill>
          <a:schemeClr val="accent2"/>
        </a:solidFill>
      </dgm:spPr>
      <dgm:t>
        <a:bodyPr/>
        <a:lstStyle/>
        <a:p>
          <a:r>
            <a:rPr lang="pl-PL"/>
            <a:t>Persona</a:t>
          </a:r>
        </a:p>
      </dgm:t>
    </dgm:pt>
    <dgm:pt modelId="{B3472F7F-B7D9-FB47-A678-072CE7B9C591}" type="parTrans" cxnId="{A54AB20A-E977-1243-81CD-E4D0C4D0C184}">
      <dgm:prSet/>
      <dgm:spPr/>
      <dgm:t>
        <a:bodyPr/>
        <a:lstStyle/>
        <a:p>
          <a:endParaRPr lang="pl-PL"/>
        </a:p>
      </dgm:t>
    </dgm:pt>
    <dgm:pt modelId="{F26847EE-E93D-504C-8B70-C24A8049F354}" type="sibTrans" cxnId="{A54AB20A-E977-1243-81CD-E4D0C4D0C184}">
      <dgm:prSet/>
      <dgm:spPr/>
      <dgm:t>
        <a:bodyPr/>
        <a:lstStyle/>
        <a:p>
          <a:endParaRPr lang="pl-PL"/>
        </a:p>
      </dgm:t>
    </dgm:pt>
    <dgm:pt modelId="{7E23F90B-32D2-DE4D-8E75-DE146C55B375}">
      <dgm:prSet phldrT="[Tekst]"/>
      <dgm:spPr/>
      <dgm:t>
        <a:bodyPr/>
        <a:lstStyle/>
        <a:p>
          <a:r>
            <a:rPr lang="pl-PL"/>
            <a:t>Kim mam być</a:t>
          </a:r>
        </a:p>
      </dgm:t>
    </dgm:pt>
    <dgm:pt modelId="{F4F323ED-DF19-9146-A7C7-BC7536B25B6A}" type="parTrans" cxnId="{FB5BF0C3-72F5-1C4C-A8F2-CC3913A948EA}">
      <dgm:prSet/>
      <dgm:spPr/>
      <dgm:t>
        <a:bodyPr/>
        <a:lstStyle/>
        <a:p>
          <a:endParaRPr lang="pl-PL"/>
        </a:p>
      </dgm:t>
    </dgm:pt>
    <dgm:pt modelId="{EC981E3B-36F8-9E4F-B43B-D28682A6F9BD}" type="sibTrans" cxnId="{FB5BF0C3-72F5-1C4C-A8F2-CC3913A948EA}">
      <dgm:prSet/>
      <dgm:spPr/>
      <dgm:t>
        <a:bodyPr/>
        <a:lstStyle/>
        <a:p>
          <a:endParaRPr lang="pl-PL"/>
        </a:p>
      </dgm:t>
    </dgm:pt>
    <dgm:pt modelId="{FCA4CC6E-B2CC-0C41-BE71-AE541C5DA8D6}">
      <dgm:prSet phldrT="[Tekst]"/>
      <dgm:spPr>
        <a:solidFill>
          <a:schemeClr val="accent6"/>
        </a:solidFill>
      </dgm:spPr>
      <dgm:t>
        <a:bodyPr/>
        <a:lstStyle/>
        <a:p>
          <a:r>
            <a:rPr lang="pl-PL"/>
            <a:t>Instrukcja</a:t>
          </a:r>
        </a:p>
      </dgm:t>
    </dgm:pt>
    <dgm:pt modelId="{FD03C0D7-2F5C-3448-AF3B-F1D568081897}" type="parTrans" cxnId="{C700DFC7-122F-AF45-A70A-151A9CB24F90}">
      <dgm:prSet/>
      <dgm:spPr/>
      <dgm:t>
        <a:bodyPr/>
        <a:lstStyle/>
        <a:p>
          <a:endParaRPr lang="pl-PL"/>
        </a:p>
      </dgm:t>
    </dgm:pt>
    <dgm:pt modelId="{BDA78F98-C6F2-A244-8A32-F9727F964A3B}" type="sibTrans" cxnId="{C700DFC7-122F-AF45-A70A-151A9CB24F90}">
      <dgm:prSet/>
      <dgm:spPr/>
      <dgm:t>
        <a:bodyPr/>
        <a:lstStyle/>
        <a:p>
          <a:endParaRPr lang="pl-PL"/>
        </a:p>
      </dgm:t>
    </dgm:pt>
    <dgm:pt modelId="{3DE8D9BF-C20A-8C45-AD1C-421B02076939}">
      <dgm:prSet phldrT="[Tekst]"/>
      <dgm:spPr/>
      <dgm:t>
        <a:bodyPr/>
        <a:lstStyle/>
        <a:p>
          <a:r>
            <a:rPr lang="pl-PL"/>
            <a:t>Co mam zrobić</a:t>
          </a:r>
        </a:p>
      </dgm:t>
    </dgm:pt>
    <dgm:pt modelId="{2681D141-1A40-954E-864D-C72F07C29FCC}" type="parTrans" cxnId="{B1479250-49A9-564D-B79E-0F7AA86650E8}">
      <dgm:prSet/>
      <dgm:spPr/>
      <dgm:t>
        <a:bodyPr/>
        <a:lstStyle/>
        <a:p>
          <a:endParaRPr lang="pl-PL"/>
        </a:p>
      </dgm:t>
    </dgm:pt>
    <dgm:pt modelId="{E06B966F-1619-194A-9863-6B2A1226A5F7}" type="sibTrans" cxnId="{B1479250-49A9-564D-B79E-0F7AA86650E8}">
      <dgm:prSet/>
      <dgm:spPr/>
      <dgm:t>
        <a:bodyPr/>
        <a:lstStyle/>
        <a:p>
          <a:endParaRPr lang="pl-PL"/>
        </a:p>
      </dgm:t>
    </dgm:pt>
    <dgm:pt modelId="{C25CFD1E-C186-D24C-AFE4-3FDA97A72F62}">
      <dgm:prSet phldrT="[Tekst]"/>
      <dgm:spPr/>
      <dgm:t>
        <a:bodyPr/>
        <a:lstStyle/>
        <a:p>
          <a:r>
            <a:rPr lang="pl-PL"/>
            <a:t>Input</a:t>
          </a:r>
        </a:p>
      </dgm:t>
    </dgm:pt>
    <dgm:pt modelId="{E8AE2DBF-DA6F-A342-9157-1530A40A85A8}" type="parTrans" cxnId="{BEB35C92-ADED-544E-B6C0-5CDDF1F68704}">
      <dgm:prSet/>
      <dgm:spPr/>
      <dgm:t>
        <a:bodyPr/>
        <a:lstStyle/>
        <a:p>
          <a:endParaRPr lang="pl-PL"/>
        </a:p>
      </dgm:t>
    </dgm:pt>
    <dgm:pt modelId="{78734DA4-0A3A-8746-8417-CB539A421153}" type="sibTrans" cxnId="{BEB35C92-ADED-544E-B6C0-5CDDF1F68704}">
      <dgm:prSet/>
      <dgm:spPr/>
      <dgm:t>
        <a:bodyPr/>
        <a:lstStyle/>
        <a:p>
          <a:endParaRPr lang="pl-PL"/>
        </a:p>
      </dgm:t>
    </dgm:pt>
    <dgm:pt modelId="{5869D750-F3FB-1D4A-BBE2-046C75A8380D}">
      <dgm:prSet phldrT="[Tekst]"/>
      <dgm:spPr/>
      <dgm:t>
        <a:bodyPr/>
        <a:lstStyle/>
        <a:p>
          <a:r>
            <a:rPr lang="pl-PL"/>
            <a:t>Dane do sprawdzenia</a:t>
          </a:r>
        </a:p>
      </dgm:t>
    </dgm:pt>
    <dgm:pt modelId="{6B30AB4A-A471-344B-9F09-5BD105A5138C}" type="parTrans" cxnId="{1E1A83F6-2432-4A48-800C-31405D6BC83F}">
      <dgm:prSet/>
      <dgm:spPr/>
      <dgm:t>
        <a:bodyPr/>
        <a:lstStyle/>
        <a:p>
          <a:endParaRPr lang="pl-PL"/>
        </a:p>
      </dgm:t>
    </dgm:pt>
    <dgm:pt modelId="{02191B01-3973-6A4C-9ABD-08F14F709A53}" type="sibTrans" cxnId="{1E1A83F6-2432-4A48-800C-31405D6BC83F}">
      <dgm:prSet/>
      <dgm:spPr/>
      <dgm:t>
        <a:bodyPr/>
        <a:lstStyle/>
        <a:p>
          <a:endParaRPr lang="pl-PL"/>
        </a:p>
      </dgm:t>
    </dgm:pt>
    <dgm:pt modelId="{4A592B08-BD4F-EB4E-B634-09D43C81854C}">
      <dgm:prSet phldrT="[Tekst]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pl-PL"/>
            <a:t>Format</a:t>
          </a:r>
        </a:p>
      </dgm:t>
    </dgm:pt>
    <dgm:pt modelId="{B59225FE-74E5-D147-94C6-4645A55F6675}" type="parTrans" cxnId="{B0E1C6F6-F7BC-394D-A4FD-06427CD59325}">
      <dgm:prSet/>
      <dgm:spPr/>
      <dgm:t>
        <a:bodyPr/>
        <a:lstStyle/>
        <a:p>
          <a:endParaRPr lang="pl-PL"/>
        </a:p>
      </dgm:t>
    </dgm:pt>
    <dgm:pt modelId="{2C6B92BC-20FA-BC46-BB90-2395D787D885}" type="sibTrans" cxnId="{B0E1C6F6-F7BC-394D-A4FD-06427CD59325}">
      <dgm:prSet/>
      <dgm:spPr/>
      <dgm:t>
        <a:bodyPr/>
        <a:lstStyle/>
        <a:p>
          <a:endParaRPr lang="pl-PL"/>
        </a:p>
      </dgm:t>
    </dgm:pt>
    <dgm:pt modelId="{97324CB5-E178-2145-8E98-D29F4B9000F2}">
      <dgm:prSet phldrT="[Tekst]"/>
      <dgm:spPr/>
      <dgm:t>
        <a:bodyPr/>
        <a:lstStyle/>
        <a:p>
          <a:r>
            <a:rPr lang="pl-PL"/>
            <a:t>Oczekiwania co do formatu odpowiedzi</a:t>
          </a:r>
        </a:p>
      </dgm:t>
    </dgm:pt>
    <dgm:pt modelId="{E549F2F7-FB2D-BD44-9FDB-E2167DE0C6D7}" type="parTrans" cxnId="{B6C2F3D6-3511-224A-A119-8A4C84AEBF6C}">
      <dgm:prSet/>
      <dgm:spPr/>
      <dgm:t>
        <a:bodyPr/>
        <a:lstStyle/>
        <a:p>
          <a:endParaRPr lang="pl-PL"/>
        </a:p>
      </dgm:t>
    </dgm:pt>
    <dgm:pt modelId="{6C60ED93-59BD-494E-9F2A-14E1897B944A}" type="sibTrans" cxnId="{B6C2F3D6-3511-224A-A119-8A4C84AEBF6C}">
      <dgm:prSet/>
      <dgm:spPr/>
      <dgm:t>
        <a:bodyPr/>
        <a:lstStyle/>
        <a:p>
          <a:endParaRPr lang="pl-PL"/>
        </a:p>
      </dgm:t>
    </dgm:pt>
    <dgm:pt modelId="{D82654A1-5331-214E-82F3-7EEEEA2AA3EC}">
      <dgm:prSet phldrT="[Tekst]"/>
      <dgm:spPr>
        <a:solidFill>
          <a:schemeClr val="tx1"/>
        </a:solidFill>
      </dgm:spPr>
      <dgm:t>
        <a:bodyPr/>
        <a:lstStyle/>
        <a:p>
          <a:r>
            <a:rPr lang="pl-PL"/>
            <a:t>Dodatkowe informacje</a:t>
          </a:r>
        </a:p>
      </dgm:t>
    </dgm:pt>
    <dgm:pt modelId="{C164559A-C015-CC40-B713-06FF4CB2F3CB}" type="parTrans" cxnId="{B0C3FE0C-C133-0643-859C-C6DD201B4E51}">
      <dgm:prSet/>
      <dgm:spPr/>
      <dgm:t>
        <a:bodyPr/>
        <a:lstStyle/>
        <a:p>
          <a:endParaRPr lang="pl-PL"/>
        </a:p>
      </dgm:t>
    </dgm:pt>
    <dgm:pt modelId="{DBC7BA4F-B5F4-D148-AB8B-520668010B9C}" type="sibTrans" cxnId="{B0C3FE0C-C133-0643-859C-C6DD201B4E51}">
      <dgm:prSet/>
      <dgm:spPr/>
      <dgm:t>
        <a:bodyPr/>
        <a:lstStyle/>
        <a:p>
          <a:endParaRPr lang="pl-PL"/>
        </a:p>
      </dgm:t>
    </dgm:pt>
    <dgm:pt modelId="{C10C52A0-9A9B-0440-969D-37A0A9A4D502}">
      <dgm:prSet phldrT="[Tekst]"/>
      <dgm:spPr/>
      <dgm:t>
        <a:bodyPr/>
        <a:lstStyle/>
        <a:p>
          <a:r>
            <a:rPr lang="pl-PL"/>
            <a:t>Kontekst który pomaga modelowi nauczyć się /przykład itp.</a:t>
          </a:r>
        </a:p>
      </dgm:t>
    </dgm:pt>
    <dgm:pt modelId="{348469A5-25A6-3F4D-A005-38068CBACD95}" type="parTrans" cxnId="{0B6480FD-B885-CB4E-BAAC-07CBC6CB0725}">
      <dgm:prSet/>
      <dgm:spPr/>
      <dgm:t>
        <a:bodyPr/>
        <a:lstStyle/>
        <a:p>
          <a:endParaRPr lang="pl-PL"/>
        </a:p>
      </dgm:t>
    </dgm:pt>
    <dgm:pt modelId="{52EFC5AC-9EC5-294F-BAF5-46364958C5DE}" type="sibTrans" cxnId="{0B6480FD-B885-CB4E-BAAC-07CBC6CB0725}">
      <dgm:prSet/>
      <dgm:spPr/>
      <dgm:t>
        <a:bodyPr/>
        <a:lstStyle/>
        <a:p>
          <a:endParaRPr lang="pl-PL"/>
        </a:p>
      </dgm:t>
    </dgm:pt>
    <dgm:pt modelId="{7C686B27-6D47-2E43-8D75-A6158D23CF38}" type="pres">
      <dgm:prSet presAssocID="{CB24E010-7BB3-8D42-AE51-6BB470E0FDE7}" presName="linear" presStyleCnt="0">
        <dgm:presLayoutVars>
          <dgm:animLvl val="lvl"/>
          <dgm:resizeHandles val="exact"/>
        </dgm:presLayoutVars>
      </dgm:prSet>
      <dgm:spPr/>
    </dgm:pt>
    <dgm:pt modelId="{8A8A019D-FD22-A044-BAA0-65741DF6C02E}" type="pres">
      <dgm:prSet presAssocID="{AFB5EBB5-D12A-0046-AD64-F2D121EAFE2D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35EAE267-C96C-2547-9576-63BF95285853}" type="pres">
      <dgm:prSet presAssocID="{AFB5EBB5-D12A-0046-AD64-F2D121EAFE2D}" presName="childText" presStyleLbl="revTx" presStyleIdx="0" presStyleCnt="5" custLinFactNeighborY="1198">
        <dgm:presLayoutVars>
          <dgm:bulletEnabled val="1"/>
        </dgm:presLayoutVars>
      </dgm:prSet>
      <dgm:spPr/>
    </dgm:pt>
    <dgm:pt modelId="{7C64CD7C-4D99-6744-945C-6B89A03A0346}" type="pres">
      <dgm:prSet presAssocID="{FCA4CC6E-B2CC-0C41-BE71-AE541C5DA8D6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F142F517-17D2-0144-8A04-0BED9FB3C6E9}" type="pres">
      <dgm:prSet presAssocID="{FCA4CC6E-B2CC-0C41-BE71-AE541C5DA8D6}" presName="childText" presStyleLbl="revTx" presStyleIdx="1" presStyleCnt="5">
        <dgm:presLayoutVars>
          <dgm:bulletEnabled val="1"/>
        </dgm:presLayoutVars>
      </dgm:prSet>
      <dgm:spPr/>
    </dgm:pt>
    <dgm:pt modelId="{E4913DB2-7315-0E42-BBF1-8A924DCB8FE6}" type="pres">
      <dgm:prSet presAssocID="{C25CFD1E-C186-D24C-AFE4-3FDA97A72F62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716132F5-822F-084B-808C-AF6ACFBB08F7}" type="pres">
      <dgm:prSet presAssocID="{C25CFD1E-C186-D24C-AFE4-3FDA97A72F62}" presName="childText" presStyleLbl="revTx" presStyleIdx="2" presStyleCnt="5">
        <dgm:presLayoutVars>
          <dgm:bulletEnabled val="1"/>
        </dgm:presLayoutVars>
      </dgm:prSet>
      <dgm:spPr/>
    </dgm:pt>
    <dgm:pt modelId="{62D1331D-CA8F-FA47-82FB-96B316BF64D4}" type="pres">
      <dgm:prSet presAssocID="{4A592B08-BD4F-EB4E-B634-09D43C81854C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50010633-8717-F64C-98E7-6F0EDF4FC7C2}" type="pres">
      <dgm:prSet presAssocID="{4A592B08-BD4F-EB4E-B634-09D43C81854C}" presName="childText" presStyleLbl="revTx" presStyleIdx="3" presStyleCnt="5">
        <dgm:presLayoutVars>
          <dgm:bulletEnabled val="1"/>
        </dgm:presLayoutVars>
      </dgm:prSet>
      <dgm:spPr/>
    </dgm:pt>
    <dgm:pt modelId="{3C4902AC-49C6-5B4A-93E2-315B1C7A3900}" type="pres">
      <dgm:prSet presAssocID="{D82654A1-5331-214E-82F3-7EEEEA2AA3EC}" presName="parentText" presStyleLbl="node1" presStyleIdx="4" presStyleCnt="5">
        <dgm:presLayoutVars>
          <dgm:chMax val="0"/>
          <dgm:bulletEnabled val="1"/>
        </dgm:presLayoutVars>
      </dgm:prSet>
      <dgm:spPr/>
    </dgm:pt>
    <dgm:pt modelId="{342CA5EE-95D1-B649-8E98-1C07ACEB508A}" type="pres">
      <dgm:prSet presAssocID="{D82654A1-5331-214E-82F3-7EEEEA2AA3EC}" presName="childText" presStyleLbl="revTx" presStyleIdx="4" presStyleCnt="5">
        <dgm:presLayoutVars>
          <dgm:bulletEnabled val="1"/>
        </dgm:presLayoutVars>
      </dgm:prSet>
      <dgm:spPr/>
    </dgm:pt>
  </dgm:ptLst>
  <dgm:cxnLst>
    <dgm:cxn modelId="{A54AB20A-E977-1243-81CD-E4D0C4D0C184}" srcId="{CB24E010-7BB3-8D42-AE51-6BB470E0FDE7}" destId="{AFB5EBB5-D12A-0046-AD64-F2D121EAFE2D}" srcOrd="0" destOrd="0" parTransId="{B3472F7F-B7D9-FB47-A678-072CE7B9C591}" sibTransId="{F26847EE-E93D-504C-8B70-C24A8049F354}"/>
    <dgm:cxn modelId="{B0C3FE0C-C133-0643-859C-C6DD201B4E51}" srcId="{CB24E010-7BB3-8D42-AE51-6BB470E0FDE7}" destId="{D82654A1-5331-214E-82F3-7EEEEA2AA3EC}" srcOrd="4" destOrd="0" parTransId="{C164559A-C015-CC40-B713-06FF4CB2F3CB}" sibTransId="{DBC7BA4F-B5F4-D148-AB8B-520668010B9C}"/>
    <dgm:cxn modelId="{943A5522-B624-2649-BB84-7A7CC3393273}" type="presOf" srcId="{FCA4CC6E-B2CC-0C41-BE71-AE541C5DA8D6}" destId="{7C64CD7C-4D99-6744-945C-6B89A03A0346}" srcOrd="0" destOrd="0" presId="urn:microsoft.com/office/officeart/2005/8/layout/vList2"/>
    <dgm:cxn modelId="{349F7D27-808E-834E-A01C-B15CE4563FD4}" type="presOf" srcId="{CB24E010-7BB3-8D42-AE51-6BB470E0FDE7}" destId="{7C686B27-6D47-2E43-8D75-A6158D23CF38}" srcOrd="0" destOrd="0" presId="urn:microsoft.com/office/officeart/2005/8/layout/vList2"/>
    <dgm:cxn modelId="{25E20529-F8FD-0C45-9861-00DD7ABF7064}" type="presOf" srcId="{D82654A1-5331-214E-82F3-7EEEEA2AA3EC}" destId="{3C4902AC-49C6-5B4A-93E2-315B1C7A3900}" srcOrd="0" destOrd="0" presId="urn:microsoft.com/office/officeart/2005/8/layout/vList2"/>
    <dgm:cxn modelId="{40032A34-B014-D14C-949A-5942AA8929DC}" type="presOf" srcId="{3DE8D9BF-C20A-8C45-AD1C-421B02076939}" destId="{F142F517-17D2-0144-8A04-0BED9FB3C6E9}" srcOrd="0" destOrd="0" presId="urn:microsoft.com/office/officeart/2005/8/layout/vList2"/>
    <dgm:cxn modelId="{F38A283C-7557-A847-837D-7507E00BFABA}" type="presOf" srcId="{C10C52A0-9A9B-0440-969D-37A0A9A4D502}" destId="{342CA5EE-95D1-B649-8E98-1C07ACEB508A}" srcOrd="0" destOrd="0" presId="urn:microsoft.com/office/officeart/2005/8/layout/vList2"/>
    <dgm:cxn modelId="{247CD45D-9156-AA4A-B3A2-A90ADEC76134}" type="presOf" srcId="{C25CFD1E-C186-D24C-AFE4-3FDA97A72F62}" destId="{E4913DB2-7315-0E42-BBF1-8A924DCB8FE6}" srcOrd="0" destOrd="0" presId="urn:microsoft.com/office/officeart/2005/8/layout/vList2"/>
    <dgm:cxn modelId="{84121D61-BB00-1747-887A-2F01CDEF897D}" type="presOf" srcId="{7E23F90B-32D2-DE4D-8E75-DE146C55B375}" destId="{35EAE267-C96C-2547-9576-63BF95285853}" srcOrd="0" destOrd="0" presId="urn:microsoft.com/office/officeart/2005/8/layout/vList2"/>
    <dgm:cxn modelId="{B1479250-49A9-564D-B79E-0F7AA86650E8}" srcId="{FCA4CC6E-B2CC-0C41-BE71-AE541C5DA8D6}" destId="{3DE8D9BF-C20A-8C45-AD1C-421B02076939}" srcOrd="0" destOrd="0" parTransId="{2681D141-1A40-954E-864D-C72F07C29FCC}" sibTransId="{E06B966F-1619-194A-9863-6B2A1226A5F7}"/>
    <dgm:cxn modelId="{3E6CA382-FD05-E24C-A0B5-4AFCA8A2BDEF}" type="presOf" srcId="{5869D750-F3FB-1D4A-BBE2-046C75A8380D}" destId="{716132F5-822F-084B-808C-AF6ACFBB08F7}" srcOrd="0" destOrd="0" presId="urn:microsoft.com/office/officeart/2005/8/layout/vList2"/>
    <dgm:cxn modelId="{BEB35C92-ADED-544E-B6C0-5CDDF1F68704}" srcId="{CB24E010-7BB3-8D42-AE51-6BB470E0FDE7}" destId="{C25CFD1E-C186-D24C-AFE4-3FDA97A72F62}" srcOrd="2" destOrd="0" parTransId="{E8AE2DBF-DA6F-A342-9157-1530A40A85A8}" sibTransId="{78734DA4-0A3A-8746-8417-CB539A421153}"/>
    <dgm:cxn modelId="{F3F87EB6-E31F-2F4B-A684-CADB41593D7D}" type="presOf" srcId="{4A592B08-BD4F-EB4E-B634-09D43C81854C}" destId="{62D1331D-CA8F-FA47-82FB-96B316BF64D4}" srcOrd="0" destOrd="0" presId="urn:microsoft.com/office/officeart/2005/8/layout/vList2"/>
    <dgm:cxn modelId="{FB5BF0C3-72F5-1C4C-A8F2-CC3913A948EA}" srcId="{AFB5EBB5-D12A-0046-AD64-F2D121EAFE2D}" destId="{7E23F90B-32D2-DE4D-8E75-DE146C55B375}" srcOrd="0" destOrd="0" parTransId="{F4F323ED-DF19-9146-A7C7-BC7536B25B6A}" sibTransId="{EC981E3B-36F8-9E4F-B43B-D28682A6F9BD}"/>
    <dgm:cxn modelId="{C700DFC7-122F-AF45-A70A-151A9CB24F90}" srcId="{CB24E010-7BB3-8D42-AE51-6BB470E0FDE7}" destId="{FCA4CC6E-B2CC-0C41-BE71-AE541C5DA8D6}" srcOrd="1" destOrd="0" parTransId="{FD03C0D7-2F5C-3448-AF3B-F1D568081897}" sibTransId="{BDA78F98-C6F2-A244-8A32-F9727F964A3B}"/>
    <dgm:cxn modelId="{B6C2F3D6-3511-224A-A119-8A4C84AEBF6C}" srcId="{4A592B08-BD4F-EB4E-B634-09D43C81854C}" destId="{97324CB5-E178-2145-8E98-D29F4B9000F2}" srcOrd="0" destOrd="0" parTransId="{E549F2F7-FB2D-BD44-9FDB-E2167DE0C6D7}" sibTransId="{6C60ED93-59BD-494E-9F2A-14E1897B944A}"/>
    <dgm:cxn modelId="{C5610CE2-0BE7-A049-BEB9-74DF12B7F086}" type="presOf" srcId="{AFB5EBB5-D12A-0046-AD64-F2D121EAFE2D}" destId="{8A8A019D-FD22-A044-BAA0-65741DF6C02E}" srcOrd="0" destOrd="0" presId="urn:microsoft.com/office/officeart/2005/8/layout/vList2"/>
    <dgm:cxn modelId="{1E1A83F6-2432-4A48-800C-31405D6BC83F}" srcId="{C25CFD1E-C186-D24C-AFE4-3FDA97A72F62}" destId="{5869D750-F3FB-1D4A-BBE2-046C75A8380D}" srcOrd="0" destOrd="0" parTransId="{6B30AB4A-A471-344B-9F09-5BD105A5138C}" sibTransId="{02191B01-3973-6A4C-9ABD-08F14F709A53}"/>
    <dgm:cxn modelId="{B0E1C6F6-F7BC-394D-A4FD-06427CD59325}" srcId="{CB24E010-7BB3-8D42-AE51-6BB470E0FDE7}" destId="{4A592B08-BD4F-EB4E-B634-09D43C81854C}" srcOrd="3" destOrd="0" parTransId="{B59225FE-74E5-D147-94C6-4645A55F6675}" sibTransId="{2C6B92BC-20FA-BC46-BB90-2395D787D885}"/>
    <dgm:cxn modelId="{513F78FC-B8EE-894D-BF4F-C0DF8D32EFE2}" type="presOf" srcId="{97324CB5-E178-2145-8E98-D29F4B9000F2}" destId="{50010633-8717-F64C-98E7-6F0EDF4FC7C2}" srcOrd="0" destOrd="0" presId="urn:microsoft.com/office/officeart/2005/8/layout/vList2"/>
    <dgm:cxn modelId="{0B6480FD-B885-CB4E-BAAC-07CBC6CB0725}" srcId="{D82654A1-5331-214E-82F3-7EEEEA2AA3EC}" destId="{C10C52A0-9A9B-0440-969D-37A0A9A4D502}" srcOrd="0" destOrd="0" parTransId="{348469A5-25A6-3F4D-A005-38068CBACD95}" sibTransId="{52EFC5AC-9EC5-294F-BAF5-46364958C5DE}"/>
    <dgm:cxn modelId="{85301E9A-343C-BD42-BCAF-3B51711715A9}" type="presParOf" srcId="{7C686B27-6D47-2E43-8D75-A6158D23CF38}" destId="{8A8A019D-FD22-A044-BAA0-65741DF6C02E}" srcOrd="0" destOrd="0" presId="urn:microsoft.com/office/officeart/2005/8/layout/vList2"/>
    <dgm:cxn modelId="{92158CE8-5977-A54A-85A1-3F284DFACD2C}" type="presParOf" srcId="{7C686B27-6D47-2E43-8D75-A6158D23CF38}" destId="{35EAE267-C96C-2547-9576-63BF95285853}" srcOrd="1" destOrd="0" presId="urn:microsoft.com/office/officeart/2005/8/layout/vList2"/>
    <dgm:cxn modelId="{4B9C9996-1933-B54B-AC7A-34EA17B9DDA7}" type="presParOf" srcId="{7C686B27-6D47-2E43-8D75-A6158D23CF38}" destId="{7C64CD7C-4D99-6744-945C-6B89A03A0346}" srcOrd="2" destOrd="0" presId="urn:microsoft.com/office/officeart/2005/8/layout/vList2"/>
    <dgm:cxn modelId="{CEDEC8B5-C9E9-9344-B5C2-8A8786881345}" type="presParOf" srcId="{7C686B27-6D47-2E43-8D75-A6158D23CF38}" destId="{F142F517-17D2-0144-8A04-0BED9FB3C6E9}" srcOrd="3" destOrd="0" presId="urn:microsoft.com/office/officeart/2005/8/layout/vList2"/>
    <dgm:cxn modelId="{05DA4A6B-2BBD-CE43-8E67-E3BC3A8BABE5}" type="presParOf" srcId="{7C686B27-6D47-2E43-8D75-A6158D23CF38}" destId="{E4913DB2-7315-0E42-BBF1-8A924DCB8FE6}" srcOrd="4" destOrd="0" presId="urn:microsoft.com/office/officeart/2005/8/layout/vList2"/>
    <dgm:cxn modelId="{AE27EAAA-9D58-CB42-B72B-2A2DDD793803}" type="presParOf" srcId="{7C686B27-6D47-2E43-8D75-A6158D23CF38}" destId="{716132F5-822F-084B-808C-AF6ACFBB08F7}" srcOrd="5" destOrd="0" presId="urn:microsoft.com/office/officeart/2005/8/layout/vList2"/>
    <dgm:cxn modelId="{B1E44E36-B918-7346-B09B-45A4603648B7}" type="presParOf" srcId="{7C686B27-6D47-2E43-8D75-A6158D23CF38}" destId="{62D1331D-CA8F-FA47-82FB-96B316BF64D4}" srcOrd="6" destOrd="0" presId="urn:microsoft.com/office/officeart/2005/8/layout/vList2"/>
    <dgm:cxn modelId="{D29445E3-0249-214C-AC8C-E19F7C948062}" type="presParOf" srcId="{7C686B27-6D47-2E43-8D75-A6158D23CF38}" destId="{50010633-8717-F64C-98E7-6F0EDF4FC7C2}" srcOrd="7" destOrd="0" presId="urn:microsoft.com/office/officeart/2005/8/layout/vList2"/>
    <dgm:cxn modelId="{0FBB0A40-F046-5846-A4C5-8A467C5D7F46}" type="presParOf" srcId="{7C686B27-6D47-2E43-8D75-A6158D23CF38}" destId="{3C4902AC-49C6-5B4A-93E2-315B1C7A3900}" srcOrd="8" destOrd="0" presId="urn:microsoft.com/office/officeart/2005/8/layout/vList2"/>
    <dgm:cxn modelId="{38D6D2F0-C5AA-554F-BAC0-980FECD5D631}" type="presParOf" srcId="{7C686B27-6D47-2E43-8D75-A6158D23CF38}" destId="{342CA5EE-95D1-B649-8E98-1C07ACEB508A}" srcOrd="9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C9D3006-87BE-4E88-B880-AA2DDED33A90}" type="doc">
      <dgm:prSet loTypeId="urn:microsoft.com/office/officeart/2005/8/layout/vList2" loCatId="list" qsTypeId="urn:microsoft.com/office/officeart/2005/8/quickstyle/simple1" qsCatId="simple" csTypeId="urn:microsoft.com/office/officeart/2005/8/colors/accent2_2" csCatId="accent2"/>
      <dgm:spPr/>
      <dgm:t>
        <a:bodyPr/>
        <a:lstStyle/>
        <a:p>
          <a:endParaRPr lang="en-US"/>
        </a:p>
      </dgm:t>
    </dgm:pt>
    <dgm:pt modelId="{E1F8A18A-79E9-4392-9463-B2867DA267B5}">
      <dgm:prSet/>
      <dgm:spPr/>
      <dgm:t>
        <a:bodyPr/>
        <a:lstStyle/>
        <a:p>
          <a:r>
            <a:rPr lang="pl-PL"/>
            <a:t>Generowanie przypadków testowych </a:t>
          </a:r>
          <a:endParaRPr lang="en-US"/>
        </a:p>
      </dgm:t>
    </dgm:pt>
    <dgm:pt modelId="{E675C0AE-DD7A-4045-AC46-E42207C91EF3}" type="parTrans" cxnId="{1C9ECE0C-B415-4459-AD45-C2D741C0B89D}">
      <dgm:prSet/>
      <dgm:spPr/>
      <dgm:t>
        <a:bodyPr/>
        <a:lstStyle/>
        <a:p>
          <a:endParaRPr lang="en-US"/>
        </a:p>
      </dgm:t>
    </dgm:pt>
    <dgm:pt modelId="{56D26DD5-5ACF-4B7D-8B4E-22D7B5A1D1E3}" type="sibTrans" cxnId="{1C9ECE0C-B415-4459-AD45-C2D741C0B89D}">
      <dgm:prSet/>
      <dgm:spPr/>
      <dgm:t>
        <a:bodyPr/>
        <a:lstStyle/>
        <a:p>
          <a:endParaRPr lang="en-US"/>
        </a:p>
      </dgm:t>
    </dgm:pt>
    <dgm:pt modelId="{0DFB745F-8528-463A-A8AC-607C11D0D3DE}">
      <dgm:prSet/>
      <dgm:spPr/>
      <dgm:t>
        <a:bodyPr/>
        <a:lstStyle/>
        <a:p>
          <a:r>
            <a:rPr lang="pl-PL"/>
            <a:t>Automatyzacja testów </a:t>
          </a:r>
          <a:endParaRPr lang="en-US"/>
        </a:p>
      </dgm:t>
    </dgm:pt>
    <dgm:pt modelId="{D8E9CDF2-C3D1-4E27-B464-DCD14924C632}" type="parTrans" cxnId="{47C35859-4318-41B8-94C5-82D73CE0CF04}">
      <dgm:prSet/>
      <dgm:spPr/>
      <dgm:t>
        <a:bodyPr/>
        <a:lstStyle/>
        <a:p>
          <a:endParaRPr lang="en-US"/>
        </a:p>
      </dgm:t>
    </dgm:pt>
    <dgm:pt modelId="{4E557C30-3D19-4907-A85D-3F1B8AECBB9C}" type="sibTrans" cxnId="{47C35859-4318-41B8-94C5-82D73CE0CF04}">
      <dgm:prSet/>
      <dgm:spPr/>
      <dgm:t>
        <a:bodyPr/>
        <a:lstStyle/>
        <a:p>
          <a:endParaRPr lang="en-US"/>
        </a:p>
      </dgm:t>
    </dgm:pt>
    <dgm:pt modelId="{C43E1738-6DDD-40FC-8E9E-B74F883563F5}">
      <dgm:prSet/>
      <dgm:spPr/>
      <dgm:t>
        <a:bodyPr/>
        <a:lstStyle/>
        <a:p>
          <a:r>
            <a:rPr lang="pl-PL"/>
            <a:t>Analiza i interpretacja wyników testowych </a:t>
          </a:r>
          <a:endParaRPr lang="en-US"/>
        </a:p>
      </dgm:t>
    </dgm:pt>
    <dgm:pt modelId="{4AB9B03D-456E-4066-B09C-BB225AD7230D}" type="parTrans" cxnId="{2C9D7217-6B16-4351-9CF6-03E857BAF778}">
      <dgm:prSet/>
      <dgm:spPr/>
      <dgm:t>
        <a:bodyPr/>
        <a:lstStyle/>
        <a:p>
          <a:endParaRPr lang="en-US"/>
        </a:p>
      </dgm:t>
    </dgm:pt>
    <dgm:pt modelId="{A510C29A-D16F-4803-BCBB-D4ED64103072}" type="sibTrans" cxnId="{2C9D7217-6B16-4351-9CF6-03E857BAF778}">
      <dgm:prSet/>
      <dgm:spPr/>
      <dgm:t>
        <a:bodyPr/>
        <a:lstStyle/>
        <a:p>
          <a:endParaRPr lang="en-US"/>
        </a:p>
      </dgm:t>
    </dgm:pt>
    <dgm:pt modelId="{9D207021-8690-4EA2-969B-ED356C184293}">
      <dgm:prSet/>
      <dgm:spPr/>
      <dgm:t>
        <a:bodyPr/>
        <a:lstStyle/>
        <a:p>
          <a:r>
            <a:rPr lang="pl-PL"/>
            <a:t>Tworzenie dokumentacji testowej </a:t>
          </a:r>
          <a:endParaRPr lang="en-US"/>
        </a:p>
      </dgm:t>
    </dgm:pt>
    <dgm:pt modelId="{0C78E038-2577-48FB-8082-5A5BF8234202}" type="parTrans" cxnId="{581128CD-3744-4B0B-8C25-C60C714312C8}">
      <dgm:prSet/>
      <dgm:spPr/>
      <dgm:t>
        <a:bodyPr/>
        <a:lstStyle/>
        <a:p>
          <a:endParaRPr lang="en-US"/>
        </a:p>
      </dgm:t>
    </dgm:pt>
    <dgm:pt modelId="{AEB08347-303D-4F5D-A783-D1D3C3489CC1}" type="sibTrans" cxnId="{581128CD-3744-4B0B-8C25-C60C714312C8}">
      <dgm:prSet/>
      <dgm:spPr/>
      <dgm:t>
        <a:bodyPr/>
        <a:lstStyle/>
        <a:p>
          <a:endParaRPr lang="en-US"/>
        </a:p>
      </dgm:t>
    </dgm:pt>
    <dgm:pt modelId="{9B4D8EAB-F8A6-404F-9445-853D16F2C69D}">
      <dgm:prSet/>
      <dgm:spPr/>
      <dgm:t>
        <a:bodyPr/>
        <a:lstStyle/>
        <a:p>
          <a:r>
            <a:rPr lang="pl-PL"/>
            <a:t>Wspracie w debugowaniu </a:t>
          </a:r>
          <a:endParaRPr lang="en-US"/>
        </a:p>
      </dgm:t>
    </dgm:pt>
    <dgm:pt modelId="{8260BD9F-1FE2-4B5F-86F5-F0F4B8E5388D}" type="parTrans" cxnId="{3E6B77E8-67C9-4BFC-AD36-0312FA66F958}">
      <dgm:prSet/>
      <dgm:spPr/>
      <dgm:t>
        <a:bodyPr/>
        <a:lstStyle/>
        <a:p>
          <a:endParaRPr lang="en-US"/>
        </a:p>
      </dgm:t>
    </dgm:pt>
    <dgm:pt modelId="{26C195F0-A641-4A7F-9EB8-7F43E6529EBE}" type="sibTrans" cxnId="{3E6B77E8-67C9-4BFC-AD36-0312FA66F958}">
      <dgm:prSet/>
      <dgm:spPr/>
      <dgm:t>
        <a:bodyPr/>
        <a:lstStyle/>
        <a:p>
          <a:endParaRPr lang="en-US"/>
        </a:p>
      </dgm:t>
    </dgm:pt>
    <dgm:pt modelId="{61F9CBD5-388F-4E65-B6BA-D54CE93F6B59}">
      <dgm:prSet/>
      <dgm:spPr/>
      <dgm:t>
        <a:bodyPr/>
        <a:lstStyle/>
        <a:p>
          <a:r>
            <a:rPr lang="pl-PL"/>
            <a:t>Testy bezpieczeństwa </a:t>
          </a:r>
          <a:endParaRPr lang="en-US"/>
        </a:p>
      </dgm:t>
    </dgm:pt>
    <dgm:pt modelId="{3C5D470F-8986-4BBD-AAF9-B1705DDB015F}" type="parTrans" cxnId="{9E808B6F-4D35-45B0-989C-780E27839DD3}">
      <dgm:prSet/>
      <dgm:spPr/>
      <dgm:t>
        <a:bodyPr/>
        <a:lstStyle/>
        <a:p>
          <a:endParaRPr lang="en-US"/>
        </a:p>
      </dgm:t>
    </dgm:pt>
    <dgm:pt modelId="{B3E8BFA5-758D-496E-9C95-12DE5C632319}" type="sibTrans" cxnId="{9E808B6F-4D35-45B0-989C-780E27839DD3}">
      <dgm:prSet/>
      <dgm:spPr/>
      <dgm:t>
        <a:bodyPr/>
        <a:lstStyle/>
        <a:p>
          <a:endParaRPr lang="en-US"/>
        </a:p>
      </dgm:t>
    </dgm:pt>
    <dgm:pt modelId="{6867DE03-AED9-4AD1-86F8-38C9F6138BA6}" type="pres">
      <dgm:prSet presAssocID="{BC9D3006-87BE-4E88-B880-AA2DDED33A90}" presName="linear" presStyleCnt="0">
        <dgm:presLayoutVars>
          <dgm:animLvl val="lvl"/>
          <dgm:resizeHandles val="exact"/>
        </dgm:presLayoutVars>
      </dgm:prSet>
      <dgm:spPr/>
    </dgm:pt>
    <dgm:pt modelId="{5567243A-345C-4AA8-BD13-AC67F9486F38}" type="pres">
      <dgm:prSet presAssocID="{E1F8A18A-79E9-4392-9463-B2867DA267B5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51E00EBE-C24B-49E4-8073-69B71C73256B}" type="pres">
      <dgm:prSet presAssocID="{56D26DD5-5ACF-4B7D-8B4E-22D7B5A1D1E3}" presName="spacer" presStyleCnt="0"/>
      <dgm:spPr/>
    </dgm:pt>
    <dgm:pt modelId="{930B3E4D-8A38-47CE-805D-4340D77EA66A}" type="pres">
      <dgm:prSet presAssocID="{0DFB745F-8528-463A-A8AC-607C11D0D3DE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A68624AC-4B14-45D6-AEA2-862E02F422BD}" type="pres">
      <dgm:prSet presAssocID="{4E557C30-3D19-4907-A85D-3F1B8AECBB9C}" presName="spacer" presStyleCnt="0"/>
      <dgm:spPr/>
    </dgm:pt>
    <dgm:pt modelId="{064C6857-7FF7-4612-B53B-BC68E0E3960D}" type="pres">
      <dgm:prSet presAssocID="{C43E1738-6DDD-40FC-8E9E-B74F883563F5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7B63D698-36AF-43A5-B0A5-866B7A6114EB}" type="pres">
      <dgm:prSet presAssocID="{A510C29A-D16F-4803-BCBB-D4ED64103072}" presName="spacer" presStyleCnt="0"/>
      <dgm:spPr/>
    </dgm:pt>
    <dgm:pt modelId="{88124E6E-D24C-45C9-A065-D58068F1DBBA}" type="pres">
      <dgm:prSet presAssocID="{9D207021-8690-4EA2-969B-ED356C184293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A4057B52-B6D9-4018-8052-BD22F190B786}" type="pres">
      <dgm:prSet presAssocID="{AEB08347-303D-4F5D-A783-D1D3C3489CC1}" presName="spacer" presStyleCnt="0"/>
      <dgm:spPr/>
    </dgm:pt>
    <dgm:pt modelId="{3F7E86F2-D99B-41B1-A1FD-1D557CE92033}" type="pres">
      <dgm:prSet presAssocID="{9B4D8EAB-F8A6-404F-9445-853D16F2C69D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EF5C01B9-5FA4-49E5-9E69-D855546B1B54}" type="pres">
      <dgm:prSet presAssocID="{26C195F0-A641-4A7F-9EB8-7F43E6529EBE}" presName="spacer" presStyleCnt="0"/>
      <dgm:spPr/>
    </dgm:pt>
    <dgm:pt modelId="{9E00A069-44F8-4837-8F7B-D5429DCD582F}" type="pres">
      <dgm:prSet presAssocID="{61F9CBD5-388F-4E65-B6BA-D54CE93F6B59}" presName="parentText" presStyleLbl="node1" presStyleIdx="5" presStyleCnt="6">
        <dgm:presLayoutVars>
          <dgm:chMax val="0"/>
          <dgm:bulletEnabled val="1"/>
        </dgm:presLayoutVars>
      </dgm:prSet>
      <dgm:spPr/>
    </dgm:pt>
  </dgm:ptLst>
  <dgm:cxnLst>
    <dgm:cxn modelId="{D1678300-87F3-4EE6-9E91-FD9B9FB800C2}" type="presOf" srcId="{61F9CBD5-388F-4E65-B6BA-D54CE93F6B59}" destId="{9E00A069-44F8-4837-8F7B-D5429DCD582F}" srcOrd="0" destOrd="0" presId="urn:microsoft.com/office/officeart/2005/8/layout/vList2"/>
    <dgm:cxn modelId="{1C9ECE0C-B415-4459-AD45-C2D741C0B89D}" srcId="{BC9D3006-87BE-4E88-B880-AA2DDED33A90}" destId="{E1F8A18A-79E9-4392-9463-B2867DA267B5}" srcOrd="0" destOrd="0" parTransId="{E675C0AE-DD7A-4045-AC46-E42207C91EF3}" sibTransId="{56D26DD5-5ACF-4B7D-8B4E-22D7B5A1D1E3}"/>
    <dgm:cxn modelId="{64CC4811-6732-4B0C-8357-9BDDB5FFC4FA}" type="presOf" srcId="{BC9D3006-87BE-4E88-B880-AA2DDED33A90}" destId="{6867DE03-AED9-4AD1-86F8-38C9F6138BA6}" srcOrd="0" destOrd="0" presId="urn:microsoft.com/office/officeart/2005/8/layout/vList2"/>
    <dgm:cxn modelId="{2C9D7217-6B16-4351-9CF6-03E857BAF778}" srcId="{BC9D3006-87BE-4E88-B880-AA2DDED33A90}" destId="{C43E1738-6DDD-40FC-8E9E-B74F883563F5}" srcOrd="2" destOrd="0" parTransId="{4AB9B03D-456E-4066-B09C-BB225AD7230D}" sibTransId="{A510C29A-D16F-4803-BCBB-D4ED64103072}"/>
    <dgm:cxn modelId="{86098147-3A1D-4616-B434-E315701A9C22}" type="presOf" srcId="{9B4D8EAB-F8A6-404F-9445-853D16F2C69D}" destId="{3F7E86F2-D99B-41B1-A1FD-1D557CE92033}" srcOrd="0" destOrd="0" presId="urn:microsoft.com/office/officeart/2005/8/layout/vList2"/>
    <dgm:cxn modelId="{40DECB6B-2FC7-4277-97DF-6800B596660A}" type="presOf" srcId="{C43E1738-6DDD-40FC-8E9E-B74F883563F5}" destId="{064C6857-7FF7-4612-B53B-BC68E0E3960D}" srcOrd="0" destOrd="0" presId="urn:microsoft.com/office/officeart/2005/8/layout/vList2"/>
    <dgm:cxn modelId="{9E808B6F-4D35-45B0-989C-780E27839DD3}" srcId="{BC9D3006-87BE-4E88-B880-AA2DDED33A90}" destId="{61F9CBD5-388F-4E65-B6BA-D54CE93F6B59}" srcOrd="5" destOrd="0" parTransId="{3C5D470F-8986-4BBD-AAF9-B1705DDB015F}" sibTransId="{B3E8BFA5-758D-496E-9C95-12DE5C632319}"/>
    <dgm:cxn modelId="{47C35859-4318-41B8-94C5-82D73CE0CF04}" srcId="{BC9D3006-87BE-4E88-B880-AA2DDED33A90}" destId="{0DFB745F-8528-463A-A8AC-607C11D0D3DE}" srcOrd="1" destOrd="0" parTransId="{D8E9CDF2-C3D1-4E27-B464-DCD14924C632}" sibTransId="{4E557C30-3D19-4907-A85D-3F1B8AECBB9C}"/>
    <dgm:cxn modelId="{D4975386-127A-4475-BBDC-8C25B9255A89}" type="presOf" srcId="{E1F8A18A-79E9-4392-9463-B2867DA267B5}" destId="{5567243A-345C-4AA8-BD13-AC67F9486F38}" srcOrd="0" destOrd="0" presId="urn:microsoft.com/office/officeart/2005/8/layout/vList2"/>
    <dgm:cxn modelId="{E2E526C2-2A4E-4715-A53D-A3A8910D56A9}" type="presOf" srcId="{9D207021-8690-4EA2-969B-ED356C184293}" destId="{88124E6E-D24C-45C9-A065-D58068F1DBBA}" srcOrd="0" destOrd="0" presId="urn:microsoft.com/office/officeart/2005/8/layout/vList2"/>
    <dgm:cxn modelId="{581128CD-3744-4B0B-8C25-C60C714312C8}" srcId="{BC9D3006-87BE-4E88-B880-AA2DDED33A90}" destId="{9D207021-8690-4EA2-969B-ED356C184293}" srcOrd="3" destOrd="0" parTransId="{0C78E038-2577-48FB-8082-5A5BF8234202}" sibTransId="{AEB08347-303D-4F5D-A783-D1D3C3489CC1}"/>
    <dgm:cxn modelId="{E63336DB-E1FF-4ED5-8D4E-268A277D4167}" type="presOf" srcId="{0DFB745F-8528-463A-A8AC-607C11D0D3DE}" destId="{930B3E4D-8A38-47CE-805D-4340D77EA66A}" srcOrd="0" destOrd="0" presId="urn:microsoft.com/office/officeart/2005/8/layout/vList2"/>
    <dgm:cxn modelId="{3E6B77E8-67C9-4BFC-AD36-0312FA66F958}" srcId="{BC9D3006-87BE-4E88-B880-AA2DDED33A90}" destId="{9B4D8EAB-F8A6-404F-9445-853D16F2C69D}" srcOrd="4" destOrd="0" parTransId="{8260BD9F-1FE2-4B5F-86F5-F0F4B8E5388D}" sibTransId="{26C195F0-A641-4A7F-9EB8-7F43E6529EBE}"/>
    <dgm:cxn modelId="{3349BED4-0558-4B03-8A70-786A6E893C57}" type="presParOf" srcId="{6867DE03-AED9-4AD1-86F8-38C9F6138BA6}" destId="{5567243A-345C-4AA8-BD13-AC67F9486F38}" srcOrd="0" destOrd="0" presId="urn:microsoft.com/office/officeart/2005/8/layout/vList2"/>
    <dgm:cxn modelId="{8C1844E0-317C-414B-BCEA-AEDE394F7B0E}" type="presParOf" srcId="{6867DE03-AED9-4AD1-86F8-38C9F6138BA6}" destId="{51E00EBE-C24B-49E4-8073-69B71C73256B}" srcOrd="1" destOrd="0" presId="urn:microsoft.com/office/officeart/2005/8/layout/vList2"/>
    <dgm:cxn modelId="{05AC788B-10F0-44AB-BC2E-0ABBC953EF84}" type="presParOf" srcId="{6867DE03-AED9-4AD1-86F8-38C9F6138BA6}" destId="{930B3E4D-8A38-47CE-805D-4340D77EA66A}" srcOrd="2" destOrd="0" presId="urn:microsoft.com/office/officeart/2005/8/layout/vList2"/>
    <dgm:cxn modelId="{5B60E58C-2884-43A8-9E33-8953D4B3E201}" type="presParOf" srcId="{6867DE03-AED9-4AD1-86F8-38C9F6138BA6}" destId="{A68624AC-4B14-45D6-AEA2-862E02F422BD}" srcOrd="3" destOrd="0" presId="urn:microsoft.com/office/officeart/2005/8/layout/vList2"/>
    <dgm:cxn modelId="{477D2705-D984-461F-95F4-21E029B96318}" type="presParOf" srcId="{6867DE03-AED9-4AD1-86F8-38C9F6138BA6}" destId="{064C6857-7FF7-4612-B53B-BC68E0E3960D}" srcOrd="4" destOrd="0" presId="urn:microsoft.com/office/officeart/2005/8/layout/vList2"/>
    <dgm:cxn modelId="{35167359-1D3C-480C-A210-8C527F983099}" type="presParOf" srcId="{6867DE03-AED9-4AD1-86F8-38C9F6138BA6}" destId="{7B63D698-36AF-43A5-B0A5-866B7A6114EB}" srcOrd="5" destOrd="0" presId="urn:microsoft.com/office/officeart/2005/8/layout/vList2"/>
    <dgm:cxn modelId="{28D4C163-7880-45C5-912F-55C4EFA65094}" type="presParOf" srcId="{6867DE03-AED9-4AD1-86F8-38C9F6138BA6}" destId="{88124E6E-D24C-45C9-A065-D58068F1DBBA}" srcOrd="6" destOrd="0" presId="urn:microsoft.com/office/officeart/2005/8/layout/vList2"/>
    <dgm:cxn modelId="{3E1F4C11-E000-4A22-A822-945E9CFCA9C3}" type="presParOf" srcId="{6867DE03-AED9-4AD1-86F8-38C9F6138BA6}" destId="{A4057B52-B6D9-4018-8052-BD22F190B786}" srcOrd="7" destOrd="0" presId="urn:microsoft.com/office/officeart/2005/8/layout/vList2"/>
    <dgm:cxn modelId="{DE14BAEC-D0E3-4FB0-B0F0-61C92AAB5BB0}" type="presParOf" srcId="{6867DE03-AED9-4AD1-86F8-38C9F6138BA6}" destId="{3F7E86F2-D99B-41B1-A1FD-1D557CE92033}" srcOrd="8" destOrd="0" presId="urn:microsoft.com/office/officeart/2005/8/layout/vList2"/>
    <dgm:cxn modelId="{4D7F3C4F-096B-4129-BBCA-5F11D81969FE}" type="presParOf" srcId="{6867DE03-AED9-4AD1-86F8-38C9F6138BA6}" destId="{EF5C01B9-5FA4-49E5-9E69-D855546B1B54}" srcOrd="9" destOrd="0" presId="urn:microsoft.com/office/officeart/2005/8/layout/vList2"/>
    <dgm:cxn modelId="{14327F9D-84F6-4E27-8D6A-4B3DD3CC33DF}" type="presParOf" srcId="{6867DE03-AED9-4AD1-86F8-38C9F6138BA6}" destId="{9E00A069-44F8-4837-8F7B-D5429DCD582F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F94B34-591A-024C-A9F2-A97C396456E0}">
      <dsp:nvSpPr>
        <dsp:cNvPr id="0" name=""/>
        <dsp:cNvSpPr/>
      </dsp:nvSpPr>
      <dsp:spPr>
        <a:xfrm>
          <a:off x="1596595" y="0"/>
          <a:ext cx="1596595" cy="1187969"/>
        </a:xfrm>
        <a:prstGeom prst="trapezoid">
          <a:avLst>
            <a:gd name="adj" fmla="val 67198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l-PL" sz="2400" kern="1200"/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400" kern="1200" err="1">
              <a:solidFill>
                <a:schemeClr val="bg1"/>
              </a:solidFill>
            </a:rPr>
            <a:t>Prompt</a:t>
          </a:r>
          <a:endParaRPr lang="pl-PL" sz="2400" kern="1200">
            <a:solidFill>
              <a:schemeClr val="bg1"/>
            </a:solidFill>
          </a:endParaRPr>
        </a:p>
      </dsp:txBody>
      <dsp:txXfrm>
        <a:off x="1596595" y="0"/>
        <a:ext cx="1596595" cy="1187969"/>
      </dsp:txXfrm>
    </dsp:sp>
    <dsp:sp modelId="{56BD81FD-F78A-354A-AE87-575D456CD18B}">
      <dsp:nvSpPr>
        <dsp:cNvPr id="0" name=""/>
        <dsp:cNvSpPr/>
      </dsp:nvSpPr>
      <dsp:spPr>
        <a:xfrm>
          <a:off x="798297" y="1187969"/>
          <a:ext cx="3193190" cy="1187969"/>
        </a:xfrm>
        <a:prstGeom prst="trapezoid">
          <a:avLst>
            <a:gd name="adj" fmla="val 67198"/>
          </a:avLst>
        </a:prstGeom>
        <a:solidFill>
          <a:schemeClr val="accent1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400" kern="1200" dirty="0"/>
            <a:t>Java, </a:t>
          </a:r>
          <a:r>
            <a:rPr lang="pl-PL" sz="2400" kern="1200" dirty="0" err="1"/>
            <a:t>Python</a:t>
          </a:r>
          <a:r>
            <a:rPr lang="pl-PL" sz="2400" kern="1200" dirty="0"/>
            <a:t>,</a:t>
          </a:r>
          <a:r>
            <a:rPr lang="en-US" sz="2400" kern="1200" dirty="0"/>
            <a:t> </a:t>
          </a:r>
          <a:r>
            <a:rPr lang="pl-PL" sz="2400" kern="1200" dirty="0"/>
            <a:t>C#</a:t>
          </a:r>
        </a:p>
      </dsp:txBody>
      <dsp:txXfrm>
        <a:off x="1357106" y="1187969"/>
        <a:ext cx="2075573" cy="1187969"/>
      </dsp:txXfrm>
    </dsp:sp>
    <dsp:sp modelId="{7F45041D-DEDF-9941-9AA0-50819F1453C8}">
      <dsp:nvSpPr>
        <dsp:cNvPr id="0" name=""/>
        <dsp:cNvSpPr/>
      </dsp:nvSpPr>
      <dsp:spPr>
        <a:xfrm>
          <a:off x="0" y="2371662"/>
          <a:ext cx="4789786" cy="1187969"/>
        </a:xfrm>
        <a:prstGeom prst="trapezoid">
          <a:avLst>
            <a:gd name="adj" fmla="val 67198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400" kern="1200">
              <a:solidFill>
                <a:schemeClr val="bg1"/>
              </a:solidFill>
            </a:rPr>
            <a:t>C/C++</a:t>
          </a:r>
        </a:p>
      </dsp:txBody>
      <dsp:txXfrm>
        <a:off x="838212" y="2371662"/>
        <a:ext cx="3113360" cy="118796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8A019D-FD22-A044-BAA0-65741DF6C02E}">
      <dsp:nvSpPr>
        <dsp:cNvPr id="0" name=""/>
        <dsp:cNvSpPr/>
      </dsp:nvSpPr>
      <dsp:spPr>
        <a:xfrm>
          <a:off x="0" y="60980"/>
          <a:ext cx="7530511" cy="561599"/>
        </a:xfrm>
        <a:prstGeom prst="round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400" kern="1200"/>
            <a:t>Persona</a:t>
          </a:r>
        </a:p>
      </dsp:txBody>
      <dsp:txXfrm>
        <a:off x="27415" y="88395"/>
        <a:ext cx="7475681" cy="506769"/>
      </dsp:txXfrm>
    </dsp:sp>
    <dsp:sp modelId="{35EAE267-C96C-2547-9576-63BF95285853}">
      <dsp:nvSpPr>
        <dsp:cNvPr id="0" name=""/>
        <dsp:cNvSpPr/>
      </dsp:nvSpPr>
      <dsp:spPr>
        <a:xfrm>
          <a:off x="0" y="629307"/>
          <a:ext cx="7530511" cy="3974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909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pl-PL" sz="1900" kern="1200"/>
            <a:t>Kim mam być</a:t>
          </a:r>
        </a:p>
      </dsp:txBody>
      <dsp:txXfrm>
        <a:off x="0" y="629307"/>
        <a:ext cx="7530511" cy="397440"/>
      </dsp:txXfrm>
    </dsp:sp>
    <dsp:sp modelId="{7C64CD7C-4D99-6744-945C-6B89A03A0346}">
      <dsp:nvSpPr>
        <dsp:cNvPr id="0" name=""/>
        <dsp:cNvSpPr/>
      </dsp:nvSpPr>
      <dsp:spPr>
        <a:xfrm>
          <a:off x="0" y="1020020"/>
          <a:ext cx="7530511" cy="561599"/>
        </a:xfrm>
        <a:prstGeom prst="roundRect">
          <a:avLst/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400" kern="1200"/>
            <a:t>Instrukcja</a:t>
          </a:r>
        </a:p>
      </dsp:txBody>
      <dsp:txXfrm>
        <a:off x="27415" y="1047435"/>
        <a:ext cx="7475681" cy="506769"/>
      </dsp:txXfrm>
    </dsp:sp>
    <dsp:sp modelId="{F142F517-17D2-0144-8A04-0BED9FB3C6E9}">
      <dsp:nvSpPr>
        <dsp:cNvPr id="0" name=""/>
        <dsp:cNvSpPr/>
      </dsp:nvSpPr>
      <dsp:spPr>
        <a:xfrm>
          <a:off x="0" y="1581620"/>
          <a:ext cx="7530511" cy="3974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909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pl-PL" sz="1900" kern="1200"/>
            <a:t>Co mam zrobić</a:t>
          </a:r>
        </a:p>
      </dsp:txBody>
      <dsp:txXfrm>
        <a:off x="0" y="1581620"/>
        <a:ext cx="7530511" cy="397440"/>
      </dsp:txXfrm>
    </dsp:sp>
    <dsp:sp modelId="{E4913DB2-7315-0E42-BBF1-8A924DCB8FE6}">
      <dsp:nvSpPr>
        <dsp:cNvPr id="0" name=""/>
        <dsp:cNvSpPr/>
      </dsp:nvSpPr>
      <dsp:spPr>
        <a:xfrm>
          <a:off x="0" y="1979060"/>
          <a:ext cx="7530511" cy="561599"/>
        </a:xfrm>
        <a:prstGeom prst="roundRect">
          <a:avLst/>
        </a:prstGeom>
        <a:solidFill>
          <a:schemeClr val="accent1">
            <a:shade val="80000"/>
            <a:hueOff val="0"/>
            <a:satOff val="-45775"/>
            <a:lumOff val="2253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400" kern="1200"/>
            <a:t>Input</a:t>
          </a:r>
        </a:p>
      </dsp:txBody>
      <dsp:txXfrm>
        <a:off x="27415" y="2006475"/>
        <a:ext cx="7475681" cy="506769"/>
      </dsp:txXfrm>
    </dsp:sp>
    <dsp:sp modelId="{716132F5-822F-084B-808C-AF6ACFBB08F7}">
      <dsp:nvSpPr>
        <dsp:cNvPr id="0" name=""/>
        <dsp:cNvSpPr/>
      </dsp:nvSpPr>
      <dsp:spPr>
        <a:xfrm>
          <a:off x="0" y="2540660"/>
          <a:ext cx="7530511" cy="3974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909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pl-PL" sz="1900" kern="1200"/>
            <a:t>Dane do sprawdzenia</a:t>
          </a:r>
        </a:p>
      </dsp:txBody>
      <dsp:txXfrm>
        <a:off x="0" y="2540660"/>
        <a:ext cx="7530511" cy="397440"/>
      </dsp:txXfrm>
    </dsp:sp>
    <dsp:sp modelId="{62D1331D-CA8F-FA47-82FB-96B316BF64D4}">
      <dsp:nvSpPr>
        <dsp:cNvPr id="0" name=""/>
        <dsp:cNvSpPr/>
      </dsp:nvSpPr>
      <dsp:spPr>
        <a:xfrm>
          <a:off x="0" y="2938100"/>
          <a:ext cx="7530511" cy="561599"/>
        </a:xfrm>
        <a:prstGeom prst="roundRect">
          <a:avLst/>
        </a:prstGeom>
        <a:solidFill>
          <a:schemeClr val="accent4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400" kern="1200"/>
            <a:t>Format</a:t>
          </a:r>
        </a:p>
      </dsp:txBody>
      <dsp:txXfrm>
        <a:off x="27415" y="2965515"/>
        <a:ext cx="7475681" cy="506769"/>
      </dsp:txXfrm>
    </dsp:sp>
    <dsp:sp modelId="{50010633-8717-F64C-98E7-6F0EDF4FC7C2}">
      <dsp:nvSpPr>
        <dsp:cNvPr id="0" name=""/>
        <dsp:cNvSpPr/>
      </dsp:nvSpPr>
      <dsp:spPr>
        <a:xfrm>
          <a:off x="0" y="3499700"/>
          <a:ext cx="7530511" cy="3974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909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pl-PL" sz="1900" kern="1200"/>
            <a:t>Oczekiwania co do formatu odpowiedzi</a:t>
          </a:r>
        </a:p>
      </dsp:txBody>
      <dsp:txXfrm>
        <a:off x="0" y="3499700"/>
        <a:ext cx="7530511" cy="397440"/>
      </dsp:txXfrm>
    </dsp:sp>
    <dsp:sp modelId="{3C4902AC-49C6-5B4A-93E2-315B1C7A3900}">
      <dsp:nvSpPr>
        <dsp:cNvPr id="0" name=""/>
        <dsp:cNvSpPr/>
      </dsp:nvSpPr>
      <dsp:spPr>
        <a:xfrm>
          <a:off x="0" y="3897140"/>
          <a:ext cx="7530511" cy="561599"/>
        </a:xfrm>
        <a:prstGeom prst="roundRect">
          <a:avLst/>
        </a:prstGeom>
        <a:solidFill>
          <a:schemeClr val="tx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400" kern="1200"/>
            <a:t>Dodatkowe informacje</a:t>
          </a:r>
        </a:p>
      </dsp:txBody>
      <dsp:txXfrm>
        <a:off x="27415" y="3924555"/>
        <a:ext cx="7475681" cy="506769"/>
      </dsp:txXfrm>
    </dsp:sp>
    <dsp:sp modelId="{342CA5EE-95D1-B649-8E98-1C07ACEB508A}">
      <dsp:nvSpPr>
        <dsp:cNvPr id="0" name=""/>
        <dsp:cNvSpPr/>
      </dsp:nvSpPr>
      <dsp:spPr>
        <a:xfrm>
          <a:off x="0" y="4458740"/>
          <a:ext cx="7530511" cy="3974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909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pl-PL" sz="1900" kern="1200"/>
            <a:t>Kontekst który pomaga modelowi nauczyć się /przykład itp.</a:t>
          </a:r>
        </a:p>
      </dsp:txBody>
      <dsp:txXfrm>
        <a:off x="0" y="4458740"/>
        <a:ext cx="7530511" cy="39744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67243A-345C-4AA8-BD13-AC67F9486F38}">
      <dsp:nvSpPr>
        <dsp:cNvPr id="0" name=""/>
        <dsp:cNvSpPr/>
      </dsp:nvSpPr>
      <dsp:spPr>
        <a:xfrm>
          <a:off x="0" y="511199"/>
          <a:ext cx="5364000" cy="5148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200" kern="1200"/>
            <a:t>Generowanie przypadków testowych </a:t>
          </a:r>
          <a:endParaRPr lang="en-US" sz="2200" kern="1200"/>
        </a:p>
      </dsp:txBody>
      <dsp:txXfrm>
        <a:off x="25130" y="536329"/>
        <a:ext cx="5313740" cy="464540"/>
      </dsp:txXfrm>
    </dsp:sp>
    <dsp:sp modelId="{930B3E4D-8A38-47CE-805D-4340D77EA66A}">
      <dsp:nvSpPr>
        <dsp:cNvPr id="0" name=""/>
        <dsp:cNvSpPr/>
      </dsp:nvSpPr>
      <dsp:spPr>
        <a:xfrm>
          <a:off x="0" y="1089359"/>
          <a:ext cx="5364000" cy="5148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200" kern="1200"/>
            <a:t>Automatyzacja testów </a:t>
          </a:r>
          <a:endParaRPr lang="en-US" sz="2200" kern="1200"/>
        </a:p>
      </dsp:txBody>
      <dsp:txXfrm>
        <a:off x="25130" y="1114489"/>
        <a:ext cx="5313740" cy="464540"/>
      </dsp:txXfrm>
    </dsp:sp>
    <dsp:sp modelId="{064C6857-7FF7-4612-B53B-BC68E0E3960D}">
      <dsp:nvSpPr>
        <dsp:cNvPr id="0" name=""/>
        <dsp:cNvSpPr/>
      </dsp:nvSpPr>
      <dsp:spPr>
        <a:xfrm>
          <a:off x="0" y="1667520"/>
          <a:ext cx="5364000" cy="5148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200" kern="1200"/>
            <a:t>Analiza i interpretacja wyników testowych </a:t>
          </a:r>
          <a:endParaRPr lang="en-US" sz="2200" kern="1200"/>
        </a:p>
      </dsp:txBody>
      <dsp:txXfrm>
        <a:off x="25130" y="1692650"/>
        <a:ext cx="5313740" cy="464540"/>
      </dsp:txXfrm>
    </dsp:sp>
    <dsp:sp modelId="{88124E6E-D24C-45C9-A065-D58068F1DBBA}">
      <dsp:nvSpPr>
        <dsp:cNvPr id="0" name=""/>
        <dsp:cNvSpPr/>
      </dsp:nvSpPr>
      <dsp:spPr>
        <a:xfrm>
          <a:off x="0" y="2245680"/>
          <a:ext cx="5364000" cy="5148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200" kern="1200"/>
            <a:t>Tworzenie dokumentacji testowej </a:t>
          </a:r>
          <a:endParaRPr lang="en-US" sz="2200" kern="1200"/>
        </a:p>
      </dsp:txBody>
      <dsp:txXfrm>
        <a:off x="25130" y="2270810"/>
        <a:ext cx="5313740" cy="464540"/>
      </dsp:txXfrm>
    </dsp:sp>
    <dsp:sp modelId="{3F7E86F2-D99B-41B1-A1FD-1D557CE92033}">
      <dsp:nvSpPr>
        <dsp:cNvPr id="0" name=""/>
        <dsp:cNvSpPr/>
      </dsp:nvSpPr>
      <dsp:spPr>
        <a:xfrm>
          <a:off x="0" y="2823840"/>
          <a:ext cx="5364000" cy="5148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200" kern="1200"/>
            <a:t>Wspracie w debugowaniu </a:t>
          </a:r>
          <a:endParaRPr lang="en-US" sz="2200" kern="1200"/>
        </a:p>
      </dsp:txBody>
      <dsp:txXfrm>
        <a:off x="25130" y="2848970"/>
        <a:ext cx="5313740" cy="464540"/>
      </dsp:txXfrm>
    </dsp:sp>
    <dsp:sp modelId="{9E00A069-44F8-4837-8F7B-D5429DCD582F}">
      <dsp:nvSpPr>
        <dsp:cNvPr id="0" name=""/>
        <dsp:cNvSpPr/>
      </dsp:nvSpPr>
      <dsp:spPr>
        <a:xfrm>
          <a:off x="0" y="3402000"/>
          <a:ext cx="5364000" cy="5148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2200" kern="1200"/>
            <a:t>Testy bezpieczeństwa </a:t>
          </a:r>
          <a:endParaRPr lang="en-US" sz="2200" kern="1200"/>
        </a:p>
      </dsp:txBody>
      <dsp:txXfrm>
        <a:off x="25130" y="3427130"/>
        <a:ext cx="5313740" cy="4645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0-16T15:52:22.548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0 1 24575,'6'3'0,"3"3"0,27 30 0,18 17 0,10 11-1552,-2-8 0,5 2 1552,-13-9 0,1 0 0,18 12 0,3 3 0,-19-15 0,0 0 0,0 0-658,-5-6 0,-1-1 0,1 2 658,7 6 0,1 1 0,1 1-1134,3 3 0,0 1 1,1 2 1133,7 7 0,1 2 0,0 1-728,-15-14 0,1 0 1,0 1-1,1 0 728,2 3 0,1 0 0,0 0 0,-2-1 0,-6-4 0,-1-1 0,0-1 0,1 2 0,3 3 0,1 1 0,0 0 0,-1-1 0,-3-2 0,-1 0 0,0 0 0,0 1 0,4 4 0,0 0 0,0 2 0,-1-1 0,-2-2 0,0 1 0,0 0 0,-2 0 0,-3-2 0,-2 1 0,0-1 0,1 1 0,-1 1 0,0 0 0,0 0 0,1 2 0,5 6 0,1 1 0,0 1 0,-1-2 0,-4-3 0,-1-1 0,1 0 0,1 1-401,9 9 1,3 1 0,0 1 0,0-3 400,-7-5 0,0-2 0,0 0 0,1 0 0,3 2 0,0-1 0,1 1 0,-1-1 0,0-1 0,1 0 0,-1-1 0,-1 0-186,-4-3 1,-1 0 0,0 0 0,0-2 185,0 0 0,1-2 0,0 0 0,-2 0 0,12 13 0,-2 0 0,1-3 0,-1-5 0,1-2 0,-2-1 256,-6-3 0,-2-2 0,-1-2-256,21 15 0,-1-2 0,-23-16 0,-1 0 0,-1-2 0,10 8 0,0-1 0,6 9 0,0 3 0,-1 1 0,0-1 0,-1-3 0,0 0 0,-13-12 0,2 3 0,0-1 0,-1 0 0,1 0 0,-1 0 0,-2-3 0,-1 0 0,1 2 221,4 8 0,2 2 1,-1 0-222,-2-2 0,0 0 0,2 2 253,12 9 1,2 2 0,-1 0-254,-6-5 0,-2-2 0,3 1 0,-7-12 0,3-1 0,0 1 0,-2-2 0,8 12 0,-2-1 0,0-1 0,3-4 0,0 0 0,-2-3 0,-10-7 0,-2-1 0,-3-4 0,6 1 0,-5-4 1361,-7-4 0,-6-6-1361,-5-10 1777,-5 4-1777,-19-22 2863,0 1-2863,0-2 4177,-5-4-4177,-21-21 0,-14-24 0,-21-31 0,13 9 0,13 17 0,20 34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0-16T15:52:24.089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5858 1 24575,'4'2'0,"-18"26"0,0 0 0,-16 41 0,-10 5 0,11 2-354,5-27 0,-1 0 354,-7 17 0,7-6 0,-2 3 0,2-13 0,-1-1 0,1 6 0,-1 2-735,-6 6 1,-3-1 734,1-5 0,-1 2-1814,-9 21 1,-3 4 1813,12-24 0,-2 2 0,2-1 0,-12 23 0,1 0-671,11-22 0,-1 2 1,1-2 670,-11 17 0,2-1-609,6-7 1,1 2 608,5-13 0,0 3 0,2-3 0,0 11 0,1-1 0,1-11 0,-3 2 0,1 0 0,-6 20 0,-1-2 0,-7-1 0,-1-1 0,0 1 0,0-1 0,1-4 0,-1-2 0,-2 0 0,0 0 0,-2 10 0,0 0 0,1-7 0,-3 3-455,7-10 1,-4 3 0,0 0 454,0-6 0,-2-1 0,0 1 0,-7 7 0,-1 2 0,-3 1-181,5-11 1,-3 1 0,-1-1 0,1 0 180,6-6 0,2 0 0,-1-1 0,-3 1 0,-9 5 0,-3 0 0,-1 1 0,3-2 0,6-5 0,2-1 0,0 0 0,-2-1 0,-3 0 0,-3-1 0,1 0 0,1-1-157,6 0 1,1-1 0,0 0 0,1-2 156,-16 11 0,1-2 0,2 0-114,5-2 1,1 0-1,3-1 114,9-6 0,2-1 0,1-2 0,-19 16 0,2 1 0,2 5 0,5-3 725,17-22 0,3-1-725,-5 10 0,2-1 3341,-7 10-3341,1 11 0,-8 3 2334,-3 3-2334,23-26 0,0 0 0,-21 25 0,29-31 0,3-2 0,-2 3 2824,-3 10-2824,6-20 1009,-8 9-1009,-7 3 56,10-12-56,-15 18 1069,12-16-1069,-14 24 0,17-24 0,-24 30 0,15-28 0,-26 33 0,18-22 0,-6 5 0,-2-5 0,8-10 0,5-10 0,21-14 0,10-9 0,5-6 0,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A8032-89EB-4D13-922A-D9DAB7321F09}" type="datetimeFigureOut">
              <a:rPr lang="sv-SE" smtClean="0"/>
              <a:t>2024-01-29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61AA99-6AE6-4252-9D49-BFACABC8D9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18177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14458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999" y="1338262"/>
            <a:ext cx="5436000" cy="2472849"/>
          </a:xfrm>
        </p:spPr>
        <p:txBody>
          <a:bodyPr>
            <a:noAutofit/>
          </a:bodyPr>
          <a:lstStyle>
            <a:lvl1pPr>
              <a:defRPr sz="4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296176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rgbClr val="FFFFFF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774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026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7" name="Pulse"/>
          <p:cNvGrpSpPr/>
          <p:nvPr userDrawn="1"/>
        </p:nvGrpSpPr>
        <p:grpSpPr>
          <a:xfrm>
            <a:off x="6964846" y="941098"/>
            <a:ext cx="5232032" cy="5299513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" name="Logotype">
            <a:extLst>
              <a:ext uri="{FF2B5EF4-FFF2-40B4-BE49-F238E27FC236}">
                <a16:creationId xmlns:a16="http://schemas.microsoft.com/office/drawing/2014/main" id="{CE95415F-4583-7209-7A13-9E1CD53E4457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5728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ink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270818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546E101-B12A-350C-C307-F9B978F274A5}"/>
              </a:ext>
            </a:extLst>
          </p:cNvPr>
          <p:cNvSpPr/>
          <p:nvPr userDrawn="1"/>
        </p:nvSpPr>
        <p:spPr>
          <a:xfrm>
            <a:off x="8189553" y="0"/>
            <a:ext cx="4010400" cy="6859588"/>
          </a:xfrm>
          <a:prstGeom prst="rect">
            <a:avLst/>
          </a:prstGeom>
          <a:solidFill>
            <a:srgbClr val="E5F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999" y="1332000"/>
            <a:ext cx="7200000" cy="442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24A7ADA-849C-17AB-9B33-51D812A2899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02650" y="1332000"/>
            <a:ext cx="3052763" cy="4427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9700100-9CEE-97C9-FAD1-B0EFCC9E31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02613" y="360084"/>
            <a:ext cx="3052800" cy="720000"/>
          </a:xfrm>
        </p:spPr>
        <p:txBody>
          <a:bodyPr anchor="b" anchorCtr="0"/>
          <a:lstStyle>
            <a:lvl1pPr marL="0" indent="0">
              <a:buNone/>
              <a:defRPr b="1">
                <a:latin typeface="+mj-lt"/>
              </a:defRPr>
            </a:lvl1pPr>
            <a:lvl2pPr marL="257191" indent="0">
              <a:buNone/>
              <a:defRPr b="1">
                <a:latin typeface="+mj-lt"/>
              </a:defRPr>
            </a:lvl2pPr>
            <a:lvl3pPr marL="514382" indent="0">
              <a:buNone/>
              <a:defRPr b="1">
                <a:latin typeface="+mj-lt"/>
              </a:defRPr>
            </a:lvl3pPr>
            <a:lvl4pPr marL="771574" indent="0">
              <a:buNone/>
              <a:defRPr b="1">
                <a:latin typeface="+mj-lt"/>
              </a:defRPr>
            </a:lvl4pPr>
            <a:lvl5pPr marL="1028765" indent="0">
              <a:buNone/>
              <a:defRPr b="1">
                <a:latin typeface="+mj-lt"/>
              </a:defRPr>
            </a:lvl5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16" name="Logotype, static">
            <a:extLst>
              <a:ext uri="{FF2B5EF4-FFF2-40B4-BE49-F238E27FC236}">
                <a16:creationId xmlns:a16="http://schemas.microsoft.com/office/drawing/2014/main" id="{657B27D4-ED75-46A9-0AD9-FAE61A5E0E87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410121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644096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59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8067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888197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8173229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1664259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Text Bo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-1" y="-1"/>
            <a:ext cx="8182879" cy="6859587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03252" y="360000"/>
            <a:ext cx="3052747" cy="7200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B1799A-498A-8A7B-92F2-75CA3D939A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02650" y="1332000"/>
            <a:ext cx="3052763" cy="44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Logotype, static">
            <a:extLst>
              <a:ext uri="{FF2B5EF4-FFF2-40B4-BE49-F238E27FC236}">
                <a16:creationId xmlns:a16="http://schemas.microsoft.com/office/drawing/2014/main" id="{C6A38777-D9B2-35D0-58CA-0DC04C032ECA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2105994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Headin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  <a:noFill/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360000"/>
            <a:ext cx="7200000" cy="972000"/>
          </a:xfrm>
        </p:spPr>
        <p:txBody>
          <a:bodyPr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1510482"/>
            <a:ext cx="7200000" cy="68524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Logotype, static">
            <a:extLst>
              <a:ext uri="{FF2B5EF4-FFF2-40B4-BE49-F238E27FC236}">
                <a16:creationId xmlns:a16="http://schemas.microsoft.com/office/drawing/2014/main" id="{217402D2-E40B-9ED9-450B-C9603CAF484D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2889395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316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332000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6940792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192000" y="1332000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using Nordea Image Bank butto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9876918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lse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648000" y="1339200"/>
            <a:ext cx="5436000" cy="24732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48000" y="4294800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8000" y="4773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8000" y="5025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26425AB6-E925-98AD-F161-922D2FCEC4B1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6964845" y="941098"/>
            <a:ext cx="5232032" cy="5299513"/>
          </a:xfrm>
          <a:custGeom>
            <a:avLst/>
            <a:gdLst>
              <a:gd name="connsiteX0" fmla="*/ 5232032 w 5232032"/>
              <a:gd name="connsiteY0" fmla="*/ 2308746 h 5299513"/>
              <a:gd name="connsiteX1" fmla="*/ 5232032 w 5232032"/>
              <a:gd name="connsiteY1" fmla="*/ 2990767 h 5299513"/>
              <a:gd name="connsiteX2" fmla="*/ 5019955 w 5232032"/>
              <a:gd name="connsiteY2" fmla="*/ 2784240 h 5299513"/>
              <a:gd name="connsiteX3" fmla="*/ 5019955 w 5232032"/>
              <a:gd name="connsiteY3" fmla="*/ 2510471 h 5299513"/>
              <a:gd name="connsiteX4" fmla="*/ 5232032 w 5232032"/>
              <a:gd name="connsiteY4" fmla="*/ 2308746 h 5299513"/>
              <a:gd name="connsiteX5" fmla="*/ 201232 w 5232032"/>
              <a:gd name="connsiteY5" fmla="*/ 2308746 h 5299513"/>
              <a:gd name="connsiteX6" fmla="*/ 402465 w 5232032"/>
              <a:gd name="connsiteY6" fmla="*/ 2510471 h 5299513"/>
              <a:gd name="connsiteX7" fmla="*/ 402465 w 5232032"/>
              <a:gd name="connsiteY7" fmla="*/ 2784240 h 5299513"/>
              <a:gd name="connsiteX8" fmla="*/ 201232 w 5232032"/>
              <a:gd name="connsiteY8" fmla="*/ 2990767 h 5299513"/>
              <a:gd name="connsiteX9" fmla="*/ 0 w 5232032"/>
              <a:gd name="connsiteY9" fmla="*/ 2784240 h 5299513"/>
              <a:gd name="connsiteX10" fmla="*/ 0 w 5232032"/>
              <a:gd name="connsiteY10" fmla="*/ 2510471 h 5299513"/>
              <a:gd name="connsiteX11" fmla="*/ 201232 w 5232032"/>
              <a:gd name="connsiteY11" fmla="*/ 2308746 h 5299513"/>
              <a:gd name="connsiteX12" fmla="*/ 4416260 w 5232032"/>
              <a:gd name="connsiteY12" fmla="*/ 2275007 h 5299513"/>
              <a:gd name="connsiteX13" fmla="*/ 4757270 w 5232032"/>
              <a:gd name="connsiteY13" fmla="*/ 2615289 h 5299513"/>
              <a:gd name="connsiteX14" fmla="*/ 4757270 w 5232032"/>
              <a:gd name="connsiteY14" fmla="*/ 3631341 h 5299513"/>
              <a:gd name="connsiteX15" fmla="*/ 4416260 w 5232032"/>
              <a:gd name="connsiteY15" fmla="*/ 3971622 h 5299513"/>
              <a:gd name="connsiteX16" fmla="*/ 4075249 w 5232032"/>
              <a:gd name="connsiteY16" fmla="*/ 3631341 h 5299513"/>
              <a:gd name="connsiteX17" fmla="*/ 4075249 w 5232032"/>
              <a:gd name="connsiteY17" fmla="*/ 2615289 h 5299513"/>
              <a:gd name="connsiteX18" fmla="*/ 4416260 w 5232032"/>
              <a:gd name="connsiteY18" fmla="*/ 2275007 h 5299513"/>
              <a:gd name="connsiteX19" fmla="*/ 3308894 w 5232032"/>
              <a:gd name="connsiteY19" fmla="*/ 1494178 h 5299513"/>
              <a:gd name="connsiteX20" fmla="*/ 3735444 w 5232032"/>
              <a:gd name="connsiteY20" fmla="*/ 1915928 h 5299513"/>
              <a:gd name="connsiteX21" fmla="*/ 3735444 w 5232032"/>
              <a:gd name="connsiteY21" fmla="*/ 4872971 h 5299513"/>
              <a:gd name="connsiteX22" fmla="*/ 3308894 w 5232032"/>
              <a:gd name="connsiteY22" fmla="*/ 5299513 h 5299513"/>
              <a:gd name="connsiteX23" fmla="*/ 2887137 w 5232032"/>
              <a:gd name="connsiteY23" fmla="*/ 4872971 h 5299513"/>
              <a:gd name="connsiteX24" fmla="*/ 2887137 w 5232032"/>
              <a:gd name="connsiteY24" fmla="*/ 1915928 h 5299513"/>
              <a:gd name="connsiteX25" fmla="*/ 3308894 w 5232032"/>
              <a:gd name="connsiteY25" fmla="*/ 1494178 h 5299513"/>
              <a:gd name="connsiteX26" fmla="*/ 1015801 w 5232032"/>
              <a:gd name="connsiteY26" fmla="*/ 1323071 h 5299513"/>
              <a:gd name="connsiteX27" fmla="*/ 1356811 w 5232032"/>
              <a:gd name="connsiteY27" fmla="*/ 1663358 h 5299513"/>
              <a:gd name="connsiteX28" fmla="*/ 1356811 w 5232032"/>
              <a:gd name="connsiteY28" fmla="*/ 2684219 h 5299513"/>
              <a:gd name="connsiteX29" fmla="*/ 1015801 w 5232032"/>
              <a:gd name="connsiteY29" fmla="*/ 3024506 h 5299513"/>
              <a:gd name="connsiteX30" fmla="*/ 674790 w 5232032"/>
              <a:gd name="connsiteY30" fmla="*/ 2684219 h 5299513"/>
              <a:gd name="connsiteX31" fmla="*/ 674790 w 5232032"/>
              <a:gd name="connsiteY31" fmla="*/ 1663358 h 5299513"/>
              <a:gd name="connsiteX32" fmla="*/ 1015801 w 5232032"/>
              <a:gd name="connsiteY32" fmla="*/ 1323071 h 5299513"/>
              <a:gd name="connsiteX33" fmla="*/ 2119571 w 5232032"/>
              <a:gd name="connsiteY33" fmla="*/ 0 h 5299513"/>
              <a:gd name="connsiteX34" fmla="*/ 2547333 w 5232032"/>
              <a:gd name="connsiteY34" fmla="*/ 426543 h 5299513"/>
              <a:gd name="connsiteX35" fmla="*/ 2547333 w 5232032"/>
              <a:gd name="connsiteY35" fmla="*/ 3378793 h 5299513"/>
              <a:gd name="connsiteX36" fmla="*/ 2119571 w 5232032"/>
              <a:gd name="connsiteY36" fmla="*/ 3805335 h 5299513"/>
              <a:gd name="connsiteX37" fmla="*/ 1696615 w 5232032"/>
              <a:gd name="connsiteY37" fmla="*/ 3378793 h 5299513"/>
              <a:gd name="connsiteX38" fmla="*/ 1696615 w 5232032"/>
              <a:gd name="connsiteY38" fmla="*/ 426543 h 5299513"/>
              <a:gd name="connsiteX39" fmla="*/ 2119571 w 5232032"/>
              <a:gd name="connsiteY39" fmla="*/ 0 h 5299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232032" h="5299513">
                <a:moveTo>
                  <a:pt x="5232032" y="2308746"/>
                </a:moveTo>
                <a:lnTo>
                  <a:pt x="5232032" y="2990767"/>
                </a:lnTo>
                <a:cubicBezTo>
                  <a:pt x="5116354" y="2990767"/>
                  <a:pt x="5019955" y="2899511"/>
                  <a:pt x="5019955" y="2784240"/>
                </a:cubicBezTo>
                <a:cubicBezTo>
                  <a:pt x="5019955" y="2784240"/>
                  <a:pt x="5019955" y="2784240"/>
                  <a:pt x="5019955" y="2510471"/>
                </a:cubicBezTo>
                <a:cubicBezTo>
                  <a:pt x="5019955" y="2400002"/>
                  <a:pt x="5116354" y="2308746"/>
                  <a:pt x="5232032" y="2308746"/>
                </a:cubicBezTo>
                <a:close/>
                <a:moveTo>
                  <a:pt x="201232" y="2308746"/>
                </a:moveTo>
                <a:cubicBezTo>
                  <a:pt x="311431" y="2308746"/>
                  <a:pt x="402465" y="2400002"/>
                  <a:pt x="402465" y="2510471"/>
                </a:cubicBezTo>
                <a:cubicBezTo>
                  <a:pt x="402465" y="2784240"/>
                  <a:pt x="402465" y="2784240"/>
                  <a:pt x="402465" y="2784240"/>
                </a:cubicBezTo>
                <a:cubicBezTo>
                  <a:pt x="402465" y="2899511"/>
                  <a:pt x="311431" y="2990767"/>
                  <a:pt x="201232" y="2990767"/>
                </a:cubicBezTo>
                <a:cubicBezTo>
                  <a:pt x="86242" y="2990767"/>
                  <a:pt x="0" y="2899511"/>
                  <a:pt x="0" y="2784240"/>
                </a:cubicBezTo>
                <a:cubicBezTo>
                  <a:pt x="0" y="2510471"/>
                  <a:pt x="0" y="2510471"/>
                  <a:pt x="0" y="2510471"/>
                </a:cubicBezTo>
                <a:cubicBezTo>
                  <a:pt x="0" y="2400002"/>
                  <a:pt x="86242" y="2308746"/>
                  <a:pt x="201232" y="2308746"/>
                </a:cubicBezTo>
                <a:close/>
                <a:moveTo>
                  <a:pt x="4416260" y="2275007"/>
                </a:moveTo>
                <a:cubicBezTo>
                  <a:pt x="4603575" y="2275007"/>
                  <a:pt x="4757270" y="2428373"/>
                  <a:pt x="4757270" y="2615289"/>
                </a:cubicBezTo>
                <a:cubicBezTo>
                  <a:pt x="4757270" y="3631341"/>
                  <a:pt x="4757270" y="3631341"/>
                  <a:pt x="4757270" y="3631341"/>
                </a:cubicBezTo>
                <a:cubicBezTo>
                  <a:pt x="4757270" y="3818256"/>
                  <a:pt x="4603575" y="3971622"/>
                  <a:pt x="4416260" y="3971622"/>
                </a:cubicBezTo>
                <a:cubicBezTo>
                  <a:pt x="4228944" y="3971622"/>
                  <a:pt x="4075249" y="3818256"/>
                  <a:pt x="4075249" y="3631341"/>
                </a:cubicBezTo>
                <a:cubicBezTo>
                  <a:pt x="4075249" y="2615289"/>
                  <a:pt x="4075249" y="2615289"/>
                  <a:pt x="4075249" y="2615289"/>
                </a:cubicBezTo>
                <a:cubicBezTo>
                  <a:pt x="4075249" y="2428373"/>
                  <a:pt x="4228944" y="2275007"/>
                  <a:pt x="4416260" y="2275007"/>
                </a:cubicBezTo>
                <a:close/>
                <a:moveTo>
                  <a:pt x="3308894" y="1494178"/>
                </a:moveTo>
                <a:cubicBezTo>
                  <a:pt x="3543736" y="1494178"/>
                  <a:pt x="3735444" y="1685883"/>
                  <a:pt x="3735444" y="1915928"/>
                </a:cubicBezTo>
                <a:cubicBezTo>
                  <a:pt x="3735444" y="4872971"/>
                  <a:pt x="3735444" y="4872971"/>
                  <a:pt x="3735444" y="4872971"/>
                </a:cubicBezTo>
                <a:cubicBezTo>
                  <a:pt x="3735444" y="5107809"/>
                  <a:pt x="3543736" y="5299513"/>
                  <a:pt x="3308894" y="5299513"/>
                </a:cubicBezTo>
                <a:cubicBezTo>
                  <a:pt x="3078845" y="5299513"/>
                  <a:pt x="2887137" y="5107809"/>
                  <a:pt x="2887137" y="4872971"/>
                </a:cubicBezTo>
                <a:cubicBezTo>
                  <a:pt x="2887137" y="1915928"/>
                  <a:pt x="2887137" y="1915928"/>
                  <a:pt x="2887137" y="1915928"/>
                </a:cubicBezTo>
                <a:cubicBezTo>
                  <a:pt x="2887137" y="1685883"/>
                  <a:pt x="3078845" y="1494178"/>
                  <a:pt x="3308894" y="1494178"/>
                </a:cubicBezTo>
                <a:close/>
                <a:moveTo>
                  <a:pt x="1015801" y="1323071"/>
                </a:moveTo>
                <a:cubicBezTo>
                  <a:pt x="1203116" y="1323071"/>
                  <a:pt x="1356811" y="1476440"/>
                  <a:pt x="1356811" y="1663358"/>
                </a:cubicBezTo>
                <a:cubicBezTo>
                  <a:pt x="1356811" y="2684219"/>
                  <a:pt x="1356811" y="2684219"/>
                  <a:pt x="1356811" y="2684219"/>
                </a:cubicBezTo>
                <a:cubicBezTo>
                  <a:pt x="1356811" y="2871137"/>
                  <a:pt x="1203116" y="3024506"/>
                  <a:pt x="1015801" y="3024506"/>
                </a:cubicBezTo>
                <a:cubicBezTo>
                  <a:pt x="828485" y="3024506"/>
                  <a:pt x="674790" y="2871137"/>
                  <a:pt x="674790" y="2684219"/>
                </a:cubicBezTo>
                <a:cubicBezTo>
                  <a:pt x="674790" y="1663358"/>
                  <a:pt x="674790" y="1663358"/>
                  <a:pt x="674790" y="1663358"/>
                </a:cubicBezTo>
                <a:cubicBezTo>
                  <a:pt x="674790" y="1476440"/>
                  <a:pt x="828485" y="1323071"/>
                  <a:pt x="1015801" y="1323071"/>
                </a:cubicBezTo>
                <a:close/>
                <a:moveTo>
                  <a:pt x="2119571" y="0"/>
                </a:moveTo>
                <a:cubicBezTo>
                  <a:pt x="2355080" y="0"/>
                  <a:pt x="2547333" y="191705"/>
                  <a:pt x="2547333" y="426543"/>
                </a:cubicBezTo>
                <a:cubicBezTo>
                  <a:pt x="2547333" y="3378793"/>
                  <a:pt x="2547333" y="3378793"/>
                  <a:pt x="2547333" y="3378793"/>
                </a:cubicBezTo>
                <a:cubicBezTo>
                  <a:pt x="2547333" y="3613631"/>
                  <a:pt x="2355080" y="3805335"/>
                  <a:pt x="2119571" y="3805335"/>
                </a:cubicBezTo>
                <a:cubicBezTo>
                  <a:pt x="1888868" y="3805335"/>
                  <a:pt x="1696615" y="3613631"/>
                  <a:pt x="1696615" y="3378793"/>
                </a:cubicBezTo>
                <a:cubicBezTo>
                  <a:pt x="1696615" y="426543"/>
                  <a:pt x="1696615" y="426543"/>
                  <a:pt x="1696615" y="426543"/>
                </a:cubicBezTo>
                <a:cubicBezTo>
                  <a:pt x="1696615" y="191705"/>
                  <a:pt x="1888868" y="0"/>
                  <a:pt x="211957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4" name="Logotype">
            <a:extLst>
              <a:ext uri="{FF2B5EF4-FFF2-40B4-BE49-F238E27FC236}">
                <a16:creationId xmlns:a16="http://schemas.microsoft.com/office/drawing/2014/main" id="{FB7A02DC-C34D-9C9B-6CE9-832BF235B54B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78901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332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5"/>
          </p:nvPr>
        </p:nvSpPr>
        <p:spPr>
          <a:xfrm>
            <a:off x="4359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7600" y="3636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295806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980000"/>
            <a:ext cx="10908000" cy="37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6600" y="360000"/>
            <a:ext cx="7200000" cy="972000"/>
          </a:xfrm>
        </p:spPr>
        <p:txBody>
          <a:bodyPr>
            <a:noAutofit/>
          </a:bodyPr>
          <a:lstStyle>
            <a:lvl1pPr algn="ctr">
              <a:defRPr sz="3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6600" y="1485578"/>
            <a:ext cx="7200000" cy="36044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  <a:latin typeface="+mj-lt"/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89367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18" y="1617260"/>
            <a:ext cx="8402188" cy="1842446"/>
          </a:xfrm>
        </p:spPr>
        <p:txBody>
          <a:bodyPr anchor="b" anchorCtr="0">
            <a:noAutofit/>
          </a:bodyPr>
          <a:lstStyle>
            <a:lvl1pPr algn="ctr">
              <a:defRPr sz="4000" b="1" cap="none" baseline="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18" y="3695879"/>
            <a:ext cx="8402188" cy="720167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544388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77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316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755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194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6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1071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510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7" name="Pulse">
            <a:extLst>
              <a:ext uri="{FF2B5EF4-FFF2-40B4-BE49-F238E27FC236}">
                <a16:creationId xmlns:a16="http://schemas.microsoft.com/office/drawing/2014/main" id="{C68BB270-0180-6C0D-F35A-670CC32C7A89}"/>
              </a:ext>
            </a:extLst>
          </p:cNvPr>
          <p:cNvGrpSpPr/>
          <p:nvPr userDrawn="1"/>
        </p:nvGrpSpPr>
        <p:grpSpPr>
          <a:xfrm>
            <a:off x="9557448" y="3630308"/>
            <a:ext cx="2640901" cy="2674962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5AEDEF5-EF6A-3786-1898-11A7B4D67D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48B5423-D79D-A870-B332-830D2CFD4B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A215C7BC-AD3A-FDA5-BBE4-2B07E79DE7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84170E1D-4367-1F8D-BE5A-1664CACBE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EDD0BCCE-1016-C6D6-53F2-8F48EED1C2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E4A903BB-B536-932E-3CCC-D8E81E787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7097439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 Blue">
    <p:bg>
      <p:bgPr>
        <a:solidFill>
          <a:srgbClr val="E5F2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43784" y="2135826"/>
            <a:ext cx="5239445" cy="2450040"/>
          </a:xfrm>
        </p:spPr>
        <p:txBody>
          <a:bodyPr>
            <a:noAutofit/>
          </a:bodyPr>
          <a:lstStyle>
            <a:lvl1pPr algn="l">
              <a:defRPr sz="40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/>
              <a:t>Click and type quot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243783" y="4801617"/>
            <a:ext cx="5239445" cy="5400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0">
                <a:solidFill>
                  <a:schemeClr val="accent1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14" name="Quote">
            <a:extLst>
              <a:ext uri="{FF2B5EF4-FFF2-40B4-BE49-F238E27FC236}">
                <a16:creationId xmlns:a16="http://schemas.microsoft.com/office/drawing/2014/main" id="{36288991-A23D-A2A3-792C-522E9B30EA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14439" y="639606"/>
            <a:ext cx="2291716" cy="1548000"/>
            <a:chOff x="2817011" y="265837"/>
            <a:chExt cx="2614377" cy="1765949"/>
          </a:xfrm>
          <a:solidFill>
            <a:schemeClr val="accent3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346AE66-BCC3-63A1-734B-97BBE232913B}"/>
                </a:ext>
              </a:extLst>
            </p:cNvPr>
            <p:cNvSpPr/>
            <p:nvPr/>
          </p:nvSpPr>
          <p:spPr>
            <a:xfrm>
              <a:off x="2817011" y="265837"/>
              <a:ext cx="1236586" cy="1765949"/>
            </a:xfrm>
            <a:custGeom>
              <a:avLst/>
              <a:gdLst>
                <a:gd name="connsiteX0" fmla="*/ 1212545 w 1236586"/>
                <a:gd name="connsiteY0" fmla="*/ 482239 h 1765949"/>
                <a:gd name="connsiteX1" fmla="*/ 933272 w 1236586"/>
                <a:gd name="connsiteY1" fmla="*/ 98000 h 1765949"/>
                <a:gd name="connsiteX2" fmla="*/ 391109 w 1236586"/>
                <a:gd name="connsiteY2" fmla="*/ 29611 h 1765949"/>
                <a:gd name="connsiteX3" fmla="*/ 41732 w 1236586"/>
                <a:gd name="connsiteY3" fmla="*/ 331839 h 1765949"/>
                <a:gd name="connsiteX4" fmla="*/ 76879 w 1236586"/>
                <a:gd name="connsiteY4" fmla="*/ 772275 h 1765949"/>
                <a:gd name="connsiteX5" fmla="*/ 291287 w 1236586"/>
                <a:gd name="connsiteY5" fmla="*/ 947249 h 1765949"/>
                <a:gd name="connsiteX6" fmla="*/ 598373 w 1236586"/>
                <a:gd name="connsiteY6" fmla="*/ 984683 h 1765949"/>
                <a:gd name="connsiteX7" fmla="*/ 415016 w 1236586"/>
                <a:gd name="connsiteY7" fmla="*/ 1376636 h 1765949"/>
                <a:gd name="connsiteX8" fmla="*/ 197561 w 1236586"/>
                <a:gd name="connsiteY8" fmla="*/ 1504938 h 1765949"/>
                <a:gd name="connsiteX9" fmla="*/ 264902 w 1236586"/>
                <a:gd name="connsiteY9" fmla="*/ 1643717 h 1765949"/>
                <a:gd name="connsiteX10" fmla="*/ 308146 w 1236586"/>
                <a:gd name="connsiteY10" fmla="*/ 1732871 h 1765949"/>
                <a:gd name="connsiteX11" fmla="*/ 324338 w 1236586"/>
                <a:gd name="connsiteY11" fmla="*/ 1765733 h 1765949"/>
                <a:gd name="connsiteX12" fmla="*/ 338150 w 1236586"/>
                <a:gd name="connsiteY12" fmla="*/ 1762494 h 1765949"/>
                <a:gd name="connsiteX13" fmla="*/ 371011 w 1236586"/>
                <a:gd name="connsiteY13" fmla="*/ 1753731 h 1765949"/>
                <a:gd name="connsiteX14" fmla="*/ 481406 w 1236586"/>
                <a:gd name="connsiteY14" fmla="*/ 1716965 h 1765949"/>
                <a:gd name="connsiteX15" fmla="*/ 806780 w 1236586"/>
                <a:gd name="connsiteY15" fmla="*/ 1542086 h 1765949"/>
                <a:gd name="connsiteX16" fmla="*/ 1115771 w 1236586"/>
                <a:gd name="connsiteY16" fmla="*/ 1192518 h 1765949"/>
                <a:gd name="connsiteX17" fmla="*/ 1207592 w 1236586"/>
                <a:gd name="connsiteY17" fmla="*/ 937629 h 1765949"/>
                <a:gd name="connsiteX18" fmla="*/ 1229594 w 1236586"/>
                <a:gd name="connsiteY18" fmla="*/ 567869 h 1765949"/>
                <a:gd name="connsiteX19" fmla="*/ 1212545 w 123658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586" h="1765949">
                  <a:moveTo>
                    <a:pt x="1212545" y="482239"/>
                  </a:moveTo>
                  <a:cubicBezTo>
                    <a:pt x="1179112" y="321743"/>
                    <a:pt x="1071098" y="183725"/>
                    <a:pt x="933272" y="98000"/>
                  </a:cubicBezTo>
                  <a:cubicBezTo>
                    <a:pt x="771347" y="-2774"/>
                    <a:pt x="572655" y="-26301"/>
                    <a:pt x="391109" y="29611"/>
                  </a:cubicBezTo>
                  <a:cubicBezTo>
                    <a:pt x="241185" y="75807"/>
                    <a:pt x="106978" y="188678"/>
                    <a:pt x="41732" y="331839"/>
                  </a:cubicBezTo>
                  <a:cubicBezTo>
                    <a:pt x="-23324" y="474524"/>
                    <a:pt x="-12847" y="642354"/>
                    <a:pt x="76879" y="772275"/>
                  </a:cubicBezTo>
                  <a:cubicBezTo>
                    <a:pt x="129838" y="848951"/>
                    <a:pt x="204038" y="912674"/>
                    <a:pt x="291287" y="947249"/>
                  </a:cubicBezTo>
                  <a:cubicBezTo>
                    <a:pt x="387299" y="985254"/>
                    <a:pt x="496169" y="997732"/>
                    <a:pt x="598373" y="984683"/>
                  </a:cubicBezTo>
                  <a:cubicBezTo>
                    <a:pt x="608183" y="1133082"/>
                    <a:pt x="523792" y="1282244"/>
                    <a:pt x="415016" y="1376636"/>
                  </a:cubicBezTo>
                  <a:cubicBezTo>
                    <a:pt x="351008" y="1432167"/>
                    <a:pt x="276047" y="1473791"/>
                    <a:pt x="197561" y="1504938"/>
                  </a:cubicBezTo>
                  <a:cubicBezTo>
                    <a:pt x="220040" y="1551230"/>
                    <a:pt x="242423" y="1597521"/>
                    <a:pt x="264902" y="1643717"/>
                  </a:cubicBezTo>
                  <a:cubicBezTo>
                    <a:pt x="279285" y="1673435"/>
                    <a:pt x="293763" y="1703153"/>
                    <a:pt x="308146" y="1732871"/>
                  </a:cubicBezTo>
                  <a:cubicBezTo>
                    <a:pt x="310908" y="1738491"/>
                    <a:pt x="318433" y="1763161"/>
                    <a:pt x="324338" y="1765733"/>
                  </a:cubicBezTo>
                  <a:cubicBezTo>
                    <a:pt x="326815" y="1766876"/>
                    <a:pt x="335578" y="1763161"/>
                    <a:pt x="338150" y="1762494"/>
                  </a:cubicBezTo>
                  <a:cubicBezTo>
                    <a:pt x="349199" y="1759827"/>
                    <a:pt x="360152" y="1756874"/>
                    <a:pt x="371011" y="1753731"/>
                  </a:cubicBezTo>
                  <a:cubicBezTo>
                    <a:pt x="408349" y="1743158"/>
                    <a:pt x="445115" y="1730776"/>
                    <a:pt x="481406" y="1716965"/>
                  </a:cubicBezTo>
                  <a:cubicBezTo>
                    <a:pt x="596753" y="1673150"/>
                    <a:pt x="707148" y="1614952"/>
                    <a:pt x="806780" y="1542086"/>
                  </a:cubicBezTo>
                  <a:cubicBezTo>
                    <a:pt x="933462" y="1449407"/>
                    <a:pt x="1041952" y="1331583"/>
                    <a:pt x="1115771" y="1192518"/>
                  </a:cubicBezTo>
                  <a:cubicBezTo>
                    <a:pt x="1158252" y="1112413"/>
                    <a:pt x="1188923" y="1026307"/>
                    <a:pt x="1207592" y="937629"/>
                  </a:cubicBezTo>
                  <a:cubicBezTo>
                    <a:pt x="1232833" y="817709"/>
                    <a:pt x="1245406" y="689693"/>
                    <a:pt x="1229594" y="567869"/>
                  </a:cubicBezTo>
                  <a:cubicBezTo>
                    <a:pt x="1225784" y="538913"/>
                    <a:pt x="1220355" y="510147"/>
                    <a:pt x="121254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75C50E4-F6DE-940D-DE91-F853D2F0A642}"/>
                </a:ext>
              </a:extLst>
            </p:cNvPr>
            <p:cNvSpPr/>
            <p:nvPr/>
          </p:nvSpPr>
          <p:spPr>
            <a:xfrm>
              <a:off x="4194682" y="265837"/>
              <a:ext cx="1236706" cy="1765949"/>
            </a:xfrm>
            <a:custGeom>
              <a:avLst/>
              <a:gdLst>
                <a:gd name="connsiteX0" fmla="*/ 1212665 w 1236706"/>
                <a:gd name="connsiteY0" fmla="*/ 482239 h 1765949"/>
                <a:gd name="connsiteX1" fmla="*/ 933392 w 1236706"/>
                <a:gd name="connsiteY1" fmla="*/ 98000 h 1765949"/>
                <a:gd name="connsiteX2" fmla="*/ 391229 w 1236706"/>
                <a:gd name="connsiteY2" fmla="*/ 29611 h 1765949"/>
                <a:gd name="connsiteX3" fmla="*/ 41852 w 1236706"/>
                <a:gd name="connsiteY3" fmla="*/ 331839 h 1765949"/>
                <a:gd name="connsiteX4" fmla="*/ 76999 w 1236706"/>
                <a:gd name="connsiteY4" fmla="*/ 772275 h 1765949"/>
                <a:gd name="connsiteX5" fmla="*/ 291407 w 1236706"/>
                <a:gd name="connsiteY5" fmla="*/ 947249 h 1765949"/>
                <a:gd name="connsiteX6" fmla="*/ 598493 w 1236706"/>
                <a:gd name="connsiteY6" fmla="*/ 984683 h 1765949"/>
                <a:gd name="connsiteX7" fmla="*/ 415137 w 1236706"/>
                <a:gd name="connsiteY7" fmla="*/ 1376636 h 1765949"/>
                <a:gd name="connsiteX8" fmla="*/ 197681 w 1236706"/>
                <a:gd name="connsiteY8" fmla="*/ 1504938 h 1765949"/>
                <a:gd name="connsiteX9" fmla="*/ 265023 w 1236706"/>
                <a:gd name="connsiteY9" fmla="*/ 1643717 h 1765949"/>
                <a:gd name="connsiteX10" fmla="*/ 308266 w 1236706"/>
                <a:gd name="connsiteY10" fmla="*/ 1732871 h 1765949"/>
                <a:gd name="connsiteX11" fmla="*/ 324459 w 1236706"/>
                <a:gd name="connsiteY11" fmla="*/ 1765733 h 1765949"/>
                <a:gd name="connsiteX12" fmla="*/ 338270 w 1236706"/>
                <a:gd name="connsiteY12" fmla="*/ 1762494 h 1765949"/>
                <a:gd name="connsiteX13" fmla="*/ 371131 w 1236706"/>
                <a:gd name="connsiteY13" fmla="*/ 1753731 h 1765949"/>
                <a:gd name="connsiteX14" fmla="*/ 481526 w 1236706"/>
                <a:gd name="connsiteY14" fmla="*/ 1716965 h 1765949"/>
                <a:gd name="connsiteX15" fmla="*/ 806900 w 1236706"/>
                <a:gd name="connsiteY15" fmla="*/ 1542086 h 1765949"/>
                <a:gd name="connsiteX16" fmla="*/ 1115891 w 1236706"/>
                <a:gd name="connsiteY16" fmla="*/ 1192518 h 1765949"/>
                <a:gd name="connsiteX17" fmla="*/ 1207712 w 1236706"/>
                <a:gd name="connsiteY17" fmla="*/ 937629 h 1765949"/>
                <a:gd name="connsiteX18" fmla="*/ 1229715 w 1236706"/>
                <a:gd name="connsiteY18" fmla="*/ 567869 h 1765949"/>
                <a:gd name="connsiteX19" fmla="*/ 1212665 w 123670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706" h="1765949">
                  <a:moveTo>
                    <a:pt x="1212665" y="482239"/>
                  </a:moveTo>
                  <a:cubicBezTo>
                    <a:pt x="1179232" y="321743"/>
                    <a:pt x="1071219" y="183725"/>
                    <a:pt x="933392" y="98000"/>
                  </a:cubicBezTo>
                  <a:cubicBezTo>
                    <a:pt x="771467" y="-2774"/>
                    <a:pt x="572871" y="-26301"/>
                    <a:pt x="391229" y="29611"/>
                  </a:cubicBezTo>
                  <a:cubicBezTo>
                    <a:pt x="241305" y="75807"/>
                    <a:pt x="107193" y="188678"/>
                    <a:pt x="41852" y="331839"/>
                  </a:cubicBezTo>
                  <a:cubicBezTo>
                    <a:pt x="-23490" y="475000"/>
                    <a:pt x="-12726" y="642354"/>
                    <a:pt x="76999" y="772275"/>
                  </a:cubicBezTo>
                  <a:cubicBezTo>
                    <a:pt x="129958" y="848951"/>
                    <a:pt x="204158" y="912674"/>
                    <a:pt x="291407" y="947249"/>
                  </a:cubicBezTo>
                  <a:cubicBezTo>
                    <a:pt x="387419" y="985254"/>
                    <a:pt x="496290" y="997732"/>
                    <a:pt x="598493" y="984683"/>
                  </a:cubicBezTo>
                  <a:cubicBezTo>
                    <a:pt x="608304" y="1133082"/>
                    <a:pt x="523912" y="1282244"/>
                    <a:pt x="415137" y="1376636"/>
                  </a:cubicBezTo>
                  <a:cubicBezTo>
                    <a:pt x="351129" y="1432167"/>
                    <a:pt x="276167" y="1473791"/>
                    <a:pt x="197681" y="1504938"/>
                  </a:cubicBezTo>
                  <a:cubicBezTo>
                    <a:pt x="220160" y="1551230"/>
                    <a:pt x="242544" y="1597521"/>
                    <a:pt x="265023" y="1643717"/>
                  </a:cubicBezTo>
                  <a:cubicBezTo>
                    <a:pt x="279406" y="1673435"/>
                    <a:pt x="293884" y="1703153"/>
                    <a:pt x="308266" y="1732871"/>
                  </a:cubicBezTo>
                  <a:cubicBezTo>
                    <a:pt x="311028" y="1738491"/>
                    <a:pt x="318553" y="1763161"/>
                    <a:pt x="324459" y="1765733"/>
                  </a:cubicBezTo>
                  <a:cubicBezTo>
                    <a:pt x="326935" y="1766876"/>
                    <a:pt x="335698" y="1763161"/>
                    <a:pt x="338270" y="1762494"/>
                  </a:cubicBezTo>
                  <a:cubicBezTo>
                    <a:pt x="349319" y="1759827"/>
                    <a:pt x="360273" y="1756874"/>
                    <a:pt x="371131" y="1753731"/>
                  </a:cubicBezTo>
                  <a:cubicBezTo>
                    <a:pt x="408469" y="1743158"/>
                    <a:pt x="445236" y="1730776"/>
                    <a:pt x="481526" y="1716965"/>
                  </a:cubicBezTo>
                  <a:cubicBezTo>
                    <a:pt x="596874" y="1673150"/>
                    <a:pt x="707268" y="1614952"/>
                    <a:pt x="806900" y="1542086"/>
                  </a:cubicBezTo>
                  <a:cubicBezTo>
                    <a:pt x="933582" y="1449407"/>
                    <a:pt x="1042072" y="1331583"/>
                    <a:pt x="1115891" y="1192518"/>
                  </a:cubicBezTo>
                  <a:cubicBezTo>
                    <a:pt x="1158373" y="1112413"/>
                    <a:pt x="1189043" y="1026307"/>
                    <a:pt x="1207712" y="937629"/>
                  </a:cubicBezTo>
                  <a:cubicBezTo>
                    <a:pt x="1232953" y="817709"/>
                    <a:pt x="1245526" y="689693"/>
                    <a:pt x="1229715" y="567869"/>
                  </a:cubicBezTo>
                  <a:cubicBezTo>
                    <a:pt x="1225905" y="538913"/>
                    <a:pt x="1220475" y="510147"/>
                    <a:pt x="121266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400194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43784" y="2135826"/>
            <a:ext cx="5239445" cy="2450040"/>
          </a:xfrm>
        </p:spPr>
        <p:txBody>
          <a:bodyPr>
            <a:noAutofit/>
          </a:bodyPr>
          <a:lstStyle>
            <a:lvl1pPr algn="l">
              <a:defRPr sz="4000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GB"/>
              <a:t>Click and type quot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243783" y="4801617"/>
            <a:ext cx="5239445" cy="5400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0">
                <a:solidFill>
                  <a:schemeClr val="accent4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14" name="Quote">
            <a:extLst>
              <a:ext uri="{FF2B5EF4-FFF2-40B4-BE49-F238E27FC236}">
                <a16:creationId xmlns:a16="http://schemas.microsoft.com/office/drawing/2014/main" id="{36288991-A23D-A2A3-792C-522E9B30EA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14439" y="639606"/>
            <a:ext cx="2291716" cy="1548000"/>
            <a:chOff x="2817011" y="265837"/>
            <a:chExt cx="2614377" cy="1765949"/>
          </a:xfrm>
          <a:solidFill>
            <a:schemeClr val="bg2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346AE66-BCC3-63A1-734B-97BBE232913B}"/>
                </a:ext>
              </a:extLst>
            </p:cNvPr>
            <p:cNvSpPr/>
            <p:nvPr/>
          </p:nvSpPr>
          <p:spPr>
            <a:xfrm>
              <a:off x="2817011" y="265837"/>
              <a:ext cx="1236586" cy="1765949"/>
            </a:xfrm>
            <a:custGeom>
              <a:avLst/>
              <a:gdLst>
                <a:gd name="connsiteX0" fmla="*/ 1212545 w 1236586"/>
                <a:gd name="connsiteY0" fmla="*/ 482239 h 1765949"/>
                <a:gd name="connsiteX1" fmla="*/ 933272 w 1236586"/>
                <a:gd name="connsiteY1" fmla="*/ 98000 h 1765949"/>
                <a:gd name="connsiteX2" fmla="*/ 391109 w 1236586"/>
                <a:gd name="connsiteY2" fmla="*/ 29611 h 1765949"/>
                <a:gd name="connsiteX3" fmla="*/ 41732 w 1236586"/>
                <a:gd name="connsiteY3" fmla="*/ 331839 h 1765949"/>
                <a:gd name="connsiteX4" fmla="*/ 76879 w 1236586"/>
                <a:gd name="connsiteY4" fmla="*/ 772275 h 1765949"/>
                <a:gd name="connsiteX5" fmla="*/ 291287 w 1236586"/>
                <a:gd name="connsiteY5" fmla="*/ 947249 h 1765949"/>
                <a:gd name="connsiteX6" fmla="*/ 598373 w 1236586"/>
                <a:gd name="connsiteY6" fmla="*/ 984683 h 1765949"/>
                <a:gd name="connsiteX7" fmla="*/ 415016 w 1236586"/>
                <a:gd name="connsiteY7" fmla="*/ 1376636 h 1765949"/>
                <a:gd name="connsiteX8" fmla="*/ 197561 w 1236586"/>
                <a:gd name="connsiteY8" fmla="*/ 1504938 h 1765949"/>
                <a:gd name="connsiteX9" fmla="*/ 264902 w 1236586"/>
                <a:gd name="connsiteY9" fmla="*/ 1643717 h 1765949"/>
                <a:gd name="connsiteX10" fmla="*/ 308146 w 1236586"/>
                <a:gd name="connsiteY10" fmla="*/ 1732871 h 1765949"/>
                <a:gd name="connsiteX11" fmla="*/ 324338 w 1236586"/>
                <a:gd name="connsiteY11" fmla="*/ 1765733 h 1765949"/>
                <a:gd name="connsiteX12" fmla="*/ 338150 w 1236586"/>
                <a:gd name="connsiteY12" fmla="*/ 1762494 h 1765949"/>
                <a:gd name="connsiteX13" fmla="*/ 371011 w 1236586"/>
                <a:gd name="connsiteY13" fmla="*/ 1753731 h 1765949"/>
                <a:gd name="connsiteX14" fmla="*/ 481406 w 1236586"/>
                <a:gd name="connsiteY14" fmla="*/ 1716965 h 1765949"/>
                <a:gd name="connsiteX15" fmla="*/ 806780 w 1236586"/>
                <a:gd name="connsiteY15" fmla="*/ 1542086 h 1765949"/>
                <a:gd name="connsiteX16" fmla="*/ 1115771 w 1236586"/>
                <a:gd name="connsiteY16" fmla="*/ 1192518 h 1765949"/>
                <a:gd name="connsiteX17" fmla="*/ 1207592 w 1236586"/>
                <a:gd name="connsiteY17" fmla="*/ 937629 h 1765949"/>
                <a:gd name="connsiteX18" fmla="*/ 1229594 w 1236586"/>
                <a:gd name="connsiteY18" fmla="*/ 567869 h 1765949"/>
                <a:gd name="connsiteX19" fmla="*/ 1212545 w 123658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586" h="1765949">
                  <a:moveTo>
                    <a:pt x="1212545" y="482239"/>
                  </a:moveTo>
                  <a:cubicBezTo>
                    <a:pt x="1179112" y="321743"/>
                    <a:pt x="1071098" y="183725"/>
                    <a:pt x="933272" y="98000"/>
                  </a:cubicBezTo>
                  <a:cubicBezTo>
                    <a:pt x="771347" y="-2774"/>
                    <a:pt x="572655" y="-26301"/>
                    <a:pt x="391109" y="29611"/>
                  </a:cubicBezTo>
                  <a:cubicBezTo>
                    <a:pt x="241185" y="75807"/>
                    <a:pt x="106978" y="188678"/>
                    <a:pt x="41732" y="331839"/>
                  </a:cubicBezTo>
                  <a:cubicBezTo>
                    <a:pt x="-23324" y="474524"/>
                    <a:pt x="-12847" y="642354"/>
                    <a:pt x="76879" y="772275"/>
                  </a:cubicBezTo>
                  <a:cubicBezTo>
                    <a:pt x="129838" y="848951"/>
                    <a:pt x="204038" y="912674"/>
                    <a:pt x="291287" y="947249"/>
                  </a:cubicBezTo>
                  <a:cubicBezTo>
                    <a:pt x="387299" y="985254"/>
                    <a:pt x="496169" y="997732"/>
                    <a:pt x="598373" y="984683"/>
                  </a:cubicBezTo>
                  <a:cubicBezTo>
                    <a:pt x="608183" y="1133082"/>
                    <a:pt x="523792" y="1282244"/>
                    <a:pt x="415016" y="1376636"/>
                  </a:cubicBezTo>
                  <a:cubicBezTo>
                    <a:pt x="351008" y="1432167"/>
                    <a:pt x="276047" y="1473791"/>
                    <a:pt x="197561" y="1504938"/>
                  </a:cubicBezTo>
                  <a:cubicBezTo>
                    <a:pt x="220040" y="1551230"/>
                    <a:pt x="242423" y="1597521"/>
                    <a:pt x="264902" y="1643717"/>
                  </a:cubicBezTo>
                  <a:cubicBezTo>
                    <a:pt x="279285" y="1673435"/>
                    <a:pt x="293763" y="1703153"/>
                    <a:pt x="308146" y="1732871"/>
                  </a:cubicBezTo>
                  <a:cubicBezTo>
                    <a:pt x="310908" y="1738491"/>
                    <a:pt x="318433" y="1763161"/>
                    <a:pt x="324338" y="1765733"/>
                  </a:cubicBezTo>
                  <a:cubicBezTo>
                    <a:pt x="326815" y="1766876"/>
                    <a:pt x="335578" y="1763161"/>
                    <a:pt x="338150" y="1762494"/>
                  </a:cubicBezTo>
                  <a:cubicBezTo>
                    <a:pt x="349199" y="1759827"/>
                    <a:pt x="360152" y="1756874"/>
                    <a:pt x="371011" y="1753731"/>
                  </a:cubicBezTo>
                  <a:cubicBezTo>
                    <a:pt x="408349" y="1743158"/>
                    <a:pt x="445115" y="1730776"/>
                    <a:pt x="481406" y="1716965"/>
                  </a:cubicBezTo>
                  <a:cubicBezTo>
                    <a:pt x="596753" y="1673150"/>
                    <a:pt x="707148" y="1614952"/>
                    <a:pt x="806780" y="1542086"/>
                  </a:cubicBezTo>
                  <a:cubicBezTo>
                    <a:pt x="933462" y="1449407"/>
                    <a:pt x="1041952" y="1331583"/>
                    <a:pt x="1115771" y="1192518"/>
                  </a:cubicBezTo>
                  <a:cubicBezTo>
                    <a:pt x="1158252" y="1112413"/>
                    <a:pt x="1188923" y="1026307"/>
                    <a:pt x="1207592" y="937629"/>
                  </a:cubicBezTo>
                  <a:cubicBezTo>
                    <a:pt x="1232833" y="817709"/>
                    <a:pt x="1245406" y="689693"/>
                    <a:pt x="1229594" y="567869"/>
                  </a:cubicBezTo>
                  <a:cubicBezTo>
                    <a:pt x="1225784" y="538913"/>
                    <a:pt x="1220355" y="510147"/>
                    <a:pt x="121254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75C50E4-F6DE-940D-DE91-F853D2F0A642}"/>
                </a:ext>
              </a:extLst>
            </p:cNvPr>
            <p:cNvSpPr/>
            <p:nvPr/>
          </p:nvSpPr>
          <p:spPr>
            <a:xfrm>
              <a:off x="4194682" y="265837"/>
              <a:ext cx="1236706" cy="1765949"/>
            </a:xfrm>
            <a:custGeom>
              <a:avLst/>
              <a:gdLst>
                <a:gd name="connsiteX0" fmla="*/ 1212665 w 1236706"/>
                <a:gd name="connsiteY0" fmla="*/ 482239 h 1765949"/>
                <a:gd name="connsiteX1" fmla="*/ 933392 w 1236706"/>
                <a:gd name="connsiteY1" fmla="*/ 98000 h 1765949"/>
                <a:gd name="connsiteX2" fmla="*/ 391229 w 1236706"/>
                <a:gd name="connsiteY2" fmla="*/ 29611 h 1765949"/>
                <a:gd name="connsiteX3" fmla="*/ 41852 w 1236706"/>
                <a:gd name="connsiteY3" fmla="*/ 331839 h 1765949"/>
                <a:gd name="connsiteX4" fmla="*/ 76999 w 1236706"/>
                <a:gd name="connsiteY4" fmla="*/ 772275 h 1765949"/>
                <a:gd name="connsiteX5" fmla="*/ 291407 w 1236706"/>
                <a:gd name="connsiteY5" fmla="*/ 947249 h 1765949"/>
                <a:gd name="connsiteX6" fmla="*/ 598493 w 1236706"/>
                <a:gd name="connsiteY6" fmla="*/ 984683 h 1765949"/>
                <a:gd name="connsiteX7" fmla="*/ 415137 w 1236706"/>
                <a:gd name="connsiteY7" fmla="*/ 1376636 h 1765949"/>
                <a:gd name="connsiteX8" fmla="*/ 197681 w 1236706"/>
                <a:gd name="connsiteY8" fmla="*/ 1504938 h 1765949"/>
                <a:gd name="connsiteX9" fmla="*/ 265023 w 1236706"/>
                <a:gd name="connsiteY9" fmla="*/ 1643717 h 1765949"/>
                <a:gd name="connsiteX10" fmla="*/ 308266 w 1236706"/>
                <a:gd name="connsiteY10" fmla="*/ 1732871 h 1765949"/>
                <a:gd name="connsiteX11" fmla="*/ 324459 w 1236706"/>
                <a:gd name="connsiteY11" fmla="*/ 1765733 h 1765949"/>
                <a:gd name="connsiteX12" fmla="*/ 338270 w 1236706"/>
                <a:gd name="connsiteY12" fmla="*/ 1762494 h 1765949"/>
                <a:gd name="connsiteX13" fmla="*/ 371131 w 1236706"/>
                <a:gd name="connsiteY13" fmla="*/ 1753731 h 1765949"/>
                <a:gd name="connsiteX14" fmla="*/ 481526 w 1236706"/>
                <a:gd name="connsiteY14" fmla="*/ 1716965 h 1765949"/>
                <a:gd name="connsiteX15" fmla="*/ 806900 w 1236706"/>
                <a:gd name="connsiteY15" fmla="*/ 1542086 h 1765949"/>
                <a:gd name="connsiteX16" fmla="*/ 1115891 w 1236706"/>
                <a:gd name="connsiteY16" fmla="*/ 1192518 h 1765949"/>
                <a:gd name="connsiteX17" fmla="*/ 1207712 w 1236706"/>
                <a:gd name="connsiteY17" fmla="*/ 937629 h 1765949"/>
                <a:gd name="connsiteX18" fmla="*/ 1229715 w 1236706"/>
                <a:gd name="connsiteY18" fmla="*/ 567869 h 1765949"/>
                <a:gd name="connsiteX19" fmla="*/ 1212665 w 123670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706" h="1765949">
                  <a:moveTo>
                    <a:pt x="1212665" y="482239"/>
                  </a:moveTo>
                  <a:cubicBezTo>
                    <a:pt x="1179232" y="321743"/>
                    <a:pt x="1071219" y="183725"/>
                    <a:pt x="933392" y="98000"/>
                  </a:cubicBezTo>
                  <a:cubicBezTo>
                    <a:pt x="771467" y="-2774"/>
                    <a:pt x="572871" y="-26301"/>
                    <a:pt x="391229" y="29611"/>
                  </a:cubicBezTo>
                  <a:cubicBezTo>
                    <a:pt x="241305" y="75807"/>
                    <a:pt x="107193" y="188678"/>
                    <a:pt x="41852" y="331839"/>
                  </a:cubicBezTo>
                  <a:cubicBezTo>
                    <a:pt x="-23490" y="475000"/>
                    <a:pt x="-12726" y="642354"/>
                    <a:pt x="76999" y="772275"/>
                  </a:cubicBezTo>
                  <a:cubicBezTo>
                    <a:pt x="129958" y="848951"/>
                    <a:pt x="204158" y="912674"/>
                    <a:pt x="291407" y="947249"/>
                  </a:cubicBezTo>
                  <a:cubicBezTo>
                    <a:pt x="387419" y="985254"/>
                    <a:pt x="496290" y="997732"/>
                    <a:pt x="598493" y="984683"/>
                  </a:cubicBezTo>
                  <a:cubicBezTo>
                    <a:pt x="608304" y="1133082"/>
                    <a:pt x="523912" y="1282244"/>
                    <a:pt x="415137" y="1376636"/>
                  </a:cubicBezTo>
                  <a:cubicBezTo>
                    <a:pt x="351129" y="1432167"/>
                    <a:pt x="276167" y="1473791"/>
                    <a:pt x="197681" y="1504938"/>
                  </a:cubicBezTo>
                  <a:cubicBezTo>
                    <a:pt x="220160" y="1551230"/>
                    <a:pt x="242544" y="1597521"/>
                    <a:pt x="265023" y="1643717"/>
                  </a:cubicBezTo>
                  <a:cubicBezTo>
                    <a:pt x="279406" y="1673435"/>
                    <a:pt x="293884" y="1703153"/>
                    <a:pt x="308266" y="1732871"/>
                  </a:cubicBezTo>
                  <a:cubicBezTo>
                    <a:pt x="311028" y="1738491"/>
                    <a:pt x="318553" y="1763161"/>
                    <a:pt x="324459" y="1765733"/>
                  </a:cubicBezTo>
                  <a:cubicBezTo>
                    <a:pt x="326935" y="1766876"/>
                    <a:pt x="335698" y="1763161"/>
                    <a:pt x="338270" y="1762494"/>
                  </a:cubicBezTo>
                  <a:cubicBezTo>
                    <a:pt x="349319" y="1759827"/>
                    <a:pt x="360273" y="1756874"/>
                    <a:pt x="371131" y="1753731"/>
                  </a:cubicBezTo>
                  <a:cubicBezTo>
                    <a:pt x="408469" y="1743158"/>
                    <a:pt x="445236" y="1730776"/>
                    <a:pt x="481526" y="1716965"/>
                  </a:cubicBezTo>
                  <a:cubicBezTo>
                    <a:pt x="596874" y="1673150"/>
                    <a:pt x="707268" y="1614952"/>
                    <a:pt x="806900" y="1542086"/>
                  </a:cubicBezTo>
                  <a:cubicBezTo>
                    <a:pt x="933582" y="1449407"/>
                    <a:pt x="1042072" y="1331583"/>
                    <a:pt x="1115891" y="1192518"/>
                  </a:cubicBezTo>
                  <a:cubicBezTo>
                    <a:pt x="1158373" y="1112413"/>
                    <a:pt x="1189043" y="1026307"/>
                    <a:pt x="1207712" y="937629"/>
                  </a:cubicBezTo>
                  <a:cubicBezTo>
                    <a:pt x="1232953" y="817709"/>
                    <a:pt x="1245526" y="689693"/>
                    <a:pt x="1229715" y="567869"/>
                  </a:cubicBezTo>
                  <a:cubicBezTo>
                    <a:pt x="1225905" y="538913"/>
                    <a:pt x="1220475" y="510147"/>
                    <a:pt x="121266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Logotype, static">
            <a:extLst>
              <a:ext uri="{FF2B5EF4-FFF2-40B4-BE49-F238E27FC236}">
                <a16:creationId xmlns:a16="http://schemas.microsoft.com/office/drawing/2014/main" id="{ED491FC6-D7FC-0600-9C48-CD411A9E4887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86802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5436000" cy="1301642"/>
          </a:xfrm>
        </p:spPr>
        <p:txBody>
          <a:bodyPr/>
          <a:lstStyle>
            <a:lvl1pPr>
              <a:defRPr sz="4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761403"/>
            <a:ext cx="5436000" cy="108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1">
                <a:solidFill>
                  <a:srgbClr val="FFFFFF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4299045"/>
            <a:ext cx="5436000" cy="82568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050">
                <a:solidFill>
                  <a:schemeClr val="bg1"/>
                </a:solidFill>
              </a:defRPr>
            </a:lvl1pPr>
            <a:lvl2pPr marL="257191" indent="0">
              <a:buNone/>
              <a:defRPr sz="900">
                <a:solidFill>
                  <a:schemeClr val="bg1"/>
                </a:solidFill>
              </a:defRPr>
            </a:lvl2pPr>
            <a:lvl3pPr marL="514382" indent="0">
              <a:buNone/>
              <a:defRPr sz="900">
                <a:solidFill>
                  <a:schemeClr val="bg1"/>
                </a:solidFill>
              </a:defRPr>
            </a:lvl3pPr>
            <a:lvl4pPr marL="771574" indent="0">
              <a:buNone/>
              <a:defRPr sz="900">
                <a:solidFill>
                  <a:schemeClr val="bg1"/>
                </a:solidFill>
              </a:defRPr>
            </a:lvl4pPr>
            <a:lvl5pPr marL="1028765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9557448" y="3630308"/>
            <a:ext cx="2640901" cy="2674962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" name="Logotype">
            <a:extLst>
              <a:ext uri="{FF2B5EF4-FFF2-40B4-BE49-F238E27FC236}">
                <a16:creationId xmlns:a16="http://schemas.microsoft.com/office/drawing/2014/main" id="{9C78D250-5250-69CE-D117-F4F588675F43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6530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BAFD68E-0C6A-0C2E-927D-9A39A4E859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7913F04-D00F-8EBE-05F7-92EA84AF85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0F89E51F-915F-86CD-BBF3-1EFB1D0ED0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F16B57-C631-344C-A451-8BAFA89D3B5B}" type="datetimeFigureOut">
              <a:rPr lang="pl-PL" smtClean="0"/>
              <a:t>29.01.2024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5E6018F8-58FD-5AFD-D817-77916D124B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74B27547-9FF2-FFEE-9A5A-F9043C06B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86206E-8722-B746-901D-E11776288D9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240081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A350D2-E265-48FF-8A18-B8E72C2028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A350D2-E265-48FF-8A18-B8E72C2028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8264"/>
            <a:ext cx="7200000" cy="750221"/>
          </a:xfrm>
        </p:spPr>
        <p:txBody>
          <a:bodyPr vert="horz">
            <a:noAutofit/>
          </a:bodyPr>
          <a:lstStyle>
            <a:lvl1pPr>
              <a:defRPr sz="23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rgbClr val="FFFFFF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 b="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 b="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8326439" y="2854326"/>
            <a:ext cx="3995737" cy="400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grpSp>
        <p:nvGrpSpPr>
          <p:cNvPr id="17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27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8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9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0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1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2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3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548574244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A1A426D-F960-45C6-A75C-7CA45CBC9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A1A426D-F960-45C6-A75C-7CA45CBC9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026670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88BB6FA-5B0D-47C6-B132-99204A2F20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88BB6FA-5B0D-47C6-B132-99204A2F2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" y="1332001"/>
            <a:ext cx="7200000" cy="442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07463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5832702-13D4-CC82-9036-5C11D2AEC3C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2"/>
            <a:ext cx="12195174" cy="6859587"/>
          </a:xfrm>
          <a:custGeom>
            <a:avLst/>
            <a:gdLst>
              <a:gd name="connsiteX0" fmla="*/ 7166078 w 12195174"/>
              <a:gd name="connsiteY0" fmla="*/ 3249843 h 6859587"/>
              <a:gd name="connsiteX1" fmla="*/ 6964845 w 12195174"/>
              <a:gd name="connsiteY1" fmla="*/ 3451568 h 6859587"/>
              <a:gd name="connsiteX2" fmla="*/ 6964845 w 12195174"/>
              <a:gd name="connsiteY2" fmla="*/ 3725337 h 6859587"/>
              <a:gd name="connsiteX3" fmla="*/ 7166078 w 12195174"/>
              <a:gd name="connsiteY3" fmla="*/ 3931864 h 6859587"/>
              <a:gd name="connsiteX4" fmla="*/ 7367310 w 12195174"/>
              <a:gd name="connsiteY4" fmla="*/ 3725337 h 6859587"/>
              <a:gd name="connsiteX5" fmla="*/ 7367310 w 12195174"/>
              <a:gd name="connsiteY5" fmla="*/ 3451568 h 6859587"/>
              <a:gd name="connsiteX6" fmla="*/ 7166078 w 12195174"/>
              <a:gd name="connsiteY6" fmla="*/ 3249843 h 6859587"/>
              <a:gd name="connsiteX7" fmla="*/ 11381105 w 12195174"/>
              <a:gd name="connsiteY7" fmla="*/ 3216105 h 6859587"/>
              <a:gd name="connsiteX8" fmla="*/ 11040094 w 12195174"/>
              <a:gd name="connsiteY8" fmla="*/ 3556386 h 6859587"/>
              <a:gd name="connsiteX9" fmla="*/ 11040094 w 12195174"/>
              <a:gd name="connsiteY9" fmla="*/ 4572438 h 6859587"/>
              <a:gd name="connsiteX10" fmla="*/ 11381105 w 12195174"/>
              <a:gd name="connsiteY10" fmla="*/ 4912719 h 6859587"/>
              <a:gd name="connsiteX11" fmla="*/ 11722115 w 12195174"/>
              <a:gd name="connsiteY11" fmla="*/ 4572438 h 6859587"/>
              <a:gd name="connsiteX12" fmla="*/ 11722115 w 12195174"/>
              <a:gd name="connsiteY12" fmla="*/ 3556386 h 6859587"/>
              <a:gd name="connsiteX13" fmla="*/ 11381105 w 12195174"/>
              <a:gd name="connsiteY13" fmla="*/ 3216105 h 6859587"/>
              <a:gd name="connsiteX14" fmla="*/ 10273739 w 12195174"/>
              <a:gd name="connsiteY14" fmla="*/ 2435275 h 6859587"/>
              <a:gd name="connsiteX15" fmla="*/ 9851982 w 12195174"/>
              <a:gd name="connsiteY15" fmla="*/ 2857025 h 6859587"/>
              <a:gd name="connsiteX16" fmla="*/ 9851982 w 12195174"/>
              <a:gd name="connsiteY16" fmla="*/ 5814068 h 6859587"/>
              <a:gd name="connsiteX17" fmla="*/ 10273739 w 12195174"/>
              <a:gd name="connsiteY17" fmla="*/ 6240610 h 6859587"/>
              <a:gd name="connsiteX18" fmla="*/ 10700289 w 12195174"/>
              <a:gd name="connsiteY18" fmla="*/ 5814068 h 6859587"/>
              <a:gd name="connsiteX19" fmla="*/ 10700289 w 12195174"/>
              <a:gd name="connsiteY19" fmla="*/ 2857025 h 6859587"/>
              <a:gd name="connsiteX20" fmla="*/ 10273739 w 12195174"/>
              <a:gd name="connsiteY20" fmla="*/ 2435275 h 6859587"/>
              <a:gd name="connsiteX21" fmla="*/ 7980646 w 12195174"/>
              <a:gd name="connsiteY21" fmla="*/ 2264169 h 6859587"/>
              <a:gd name="connsiteX22" fmla="*/ 7639635 w 12195174"/>
              <a:gd name="connsiteY22" fmla="*/ 2604455 h 6859587"/>
              <a:gd name="connsiteX23" fmla="*/ 7639635 w 12195174"/>
              <a:gd name="connsiteY23" fmla="*/ 3625316 h 6859587"/>
              <a:gd name="connsiteX24" fmla="*/ 7980646 w 12195174"/>
              <a:gd name="connsiteY24" fmla="*/ 3965603 h 6859587"/>
              <a:gd name="connsiteX25" fmla="*/ 8321656 w 12195174"/>
              <a:gd name="connsiteY25" fmla="*/ 3625316 h 6859587"/>
              <a:gd name="connsiteX26" fmla="*/ 8321656 w 12195174"/>
              <a:gd name="connsiteY26" fmla="*/ 2604455 h 6859587"/>
              <a:gd name="connsiteX27" fmla="*/ 7980646 w 12195174"/>
              <a:gd name="connsiteY27" fmla="*/ 2264169 h 6859587"/>
              <a:gd name="connsiteX28" fmla="*/ 9084416 w 12195174"/>
              <a:gd name="connsiteY28" fmla="*/ 941097 h 6859587"/>
              <a:gd name="connsiteX29" fmla="*/ 8661460 w 12195174"/>
              <a:gd name="connsiteY29" fmla="*/ 1367640 h 6859587"/>
              <a:gd name="connsiteX30" fmla="*/ 8661460 w 12195174"/>
              <a:gd name="connsiteY30" fmla="*/ 4319890 h 6859587"/>
              <a:gd name="connsiteX31" fmla="*/ 9084416 w 12195174"/>
              <a:gd name="connsiteY31" fmla="*/ 4746432 h 6859587"/>
              <a:gd name="connsiteX32" fmla="*/ 9512178 w 12195174"/>
              <a:gd name="connsiteY32" fmla="*/ 4319890 h 6859587"/>
              <a:gd name="connsiteX33" fmla="*/ 9512178 w 12195174"/>
              <a:gd name="connsiteY33" fmla="*/ 1367640 h 6859587"/>
              <a:gd name="connsiteX34" fmla="*/ 9084416 w 12195174"/>
              <a:gd name="connsiteY34" fmla="*/ 941097 h 6859587"/>
              <a:gd name="connsiteX35" fmla="*/ 0 w 12195174"/>
              <a:gd name="connsiteY35" fmla="*/ 0 h 6859587"/>
              <a:gd name="connsiteX36" fmla="*/ 12195174 w 12195174"/>
              <a:gd name="connsiteY36" fmla="*/ 0 h 6859587"/>
              <a:gd name="connsiteX37" fmla="*/ 12195174 w 12195174"/>
              <a:gd name="connsiteY37" fmla="*/ 3250010 h 6859587"/>
              <a:gd name="connsiteX38" fmla="*/ 12154552 w 12195174"/>
              <a:gd name="connsiteY38" fmla="*/ 3253980 h 6859587"/>
              <a:gd name="connsiteX39" fmla="*/ 11984800 w 12195174"/>
              <a:gd name="connsiteY39" fmla="*/ 3451568 h 6859587"/>
              <a:gd name="connsiteX40" fmla="*/ 11984800 w 12195174"/>
              <a:gd name="connsiteY40" fmla="*/ 3725337 h 6859587"/>
              <a:gd name="connsiteX41" fmla="*/ 12154552 w 12195174"/>
              <a:gd name="connsiteY41" fmla="*/ 3927718 h 6859587"/>
              <a:gd name="connsiteX42" fmla="*/ 12195174 w 12195174"/>
              <a:gd name="connsiteY42" fmla="*/ 3931697 h 6859587"/>
              <a:gd name="connsiteX43" fmla="*/ 12195174 w 12195174"/>
              <a:gd name="connsiteY43" fmla="*/ 6859587 h 6859587"/>
              <a:gd name="connsiteX44" fmla="*/ 0 w 12195174"/>
              <a:gd name="connsiteY44" fmla="*/ 6859587 h 6859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12195174" h="6859587">
                <a:moveTo>
                  <a:pt x="7166078" y="3249843"/>
                </a:moveTo>
                <a:cubicBezTo>
                  <a:pt x="7051088" y="3249843"/>
                  <a:pt x="6964845" y="3341099"/>
                  <a:pt x="6964845" y="3451568"/>
                </a:cubicBezTo>
                <a:cubicBezTo>
                  <a:pt x="6964845" y="3451568"/>
                  <a:pt x="6964845" y="3451568"/>
                  <a:pt x="6964845" y="3725337"/>
                </a:cubicBezTo>
                <a:cubicBezTo>
                  <a:pt x="6964845" y="3840608"/>
                  <a:pt x="7051088" y="3931864"/>
                  <a:pt x="7166078" y="3931864"/>
                </a:cubicBezTo>
                <a:cubicBezTo>
                  <a:pt x="7276276" y="3931864"/>
                  <a:pt x="7367310" y="3840608"/>
                  <a:pt x="7367310" y="3725337"/>
                </a:cubicBezTo>
                <a:cubicBezTo>
                  <a:pt x="7367310" y="3725337"/>
                  <a:pt x="7367310" y="3725337"/>
                  <a:pt x="7367310" y="3451568"/>
                </a:cubicBezTo>
                <a:cubicBezTo>
                  <a:pt x="7367310" y="3341099"/>
                  <a:pt x="7276276" y="3249843"/>
                  <a:pt x="7166078" y="3249843"/>
                </a:cubicBezTo>
                <a:close/>
                <a:moveTo>
                  <a:pt x="11381105" y="3216105"/>
                </a:moveTo>
                <a:cubicBezTo>
                  <a:pt x="11193789" y="3216105"/>
                  <a:pt x="11040094" y="3369471"/>
                  <a:pt x="11040094" y="3556386"/>
                </a:cubicBezTo>
                <a:cubicBezTo>
                  <a:pt x="11040094" y="3556386"/>
                  <a:pt x="11040094" y="3556386"/>
                  <a:pt x="11040094" y="4572438"/>
                </a:cubicBezTo>
                <a:cubicBezTo>
                  <a:pt x="11040094" y="4759353"/>
                  <a:pt x="11193789" y="4912719"/>
                  <a:pt x="11381105" y="4912719"/>
                </a:cubicBezTo>
                <a:cubicBezTo>
                  <a:pt x="11568420" y="4912719"/>
                  <a:pt x="11722115" y="4759353"/>
                  <a:pt x="11722115" y="4572438"/>
                </a:cubicBezTo>
                <a:cubicBezTo>
                  <a:pt x="11722115" y="4572438"/>
                  <a:pt x="11722115" y="4572438"/>
                  <a:pt x="11722115" y="3556386"/>
                </a:cubicBezTo>
                <a:cubicBezTo>
                  <a:pt x="11722115" y="3369471"/>
                  <a:pt x="11568420" y="3216105"/>
                  <a:pt x="11381105" y="3216105"/>
                </a:cubicBezTo>
                <a:close/>
                <a:moveTo>
                  <a:pt x="10273739" y="2435275"/>
                </a:moveTo>
                <a:cubicBezTo>
                  <a:pt x="10043690" y="2435275"/>
                  <a:pt x="9851982" y="2626980"/>
                  <a:pt x="9851982" y="2857025"/>
                </a:cubicBezTo>
                <a:cubicBezTo>
                  <a:pt x="9851982" y="2857025"/>
                  <a:pt x="9851982" y="2857025"/>
                  <a:pt x="9851982" y="5814068"/>
                </a:cubicBezTo>
                <a:cubicBezTo>
                  <a:pt x="9851982" y="6048906"/>
                  <a:pt x="10043690" y="6240610"/>
                  <a:pt x="10273739" y="6240610"/>
                </a:cubicBezTo>
                <a:cubicBezTo>
                  <a:pt x="10508581" y="6240610"/>
                  <a:pt x="10700289" y="6048906"/>
                  <a:pt x="10700289" y="5814068"/>
                </a:cubicBezTo>
                <a:cubicBezTo>
                  <a:pt x="10700289" y="5814068"/>
                  <a:pt x="10700289" y="5814068"/>
                  <a:pt x="10700289" y="2857025"/>
                </a:cubicBezTo>
                <a:cubicBezTo>
                  <a:pt x="10700289" y="2626980"/>
                  <a:pt x="10508581" y="2435275"/>
                  <a:pt x="10273739" y="2435275"/>
                </a:cubicBezTo>
                <a:close/>
                <a:moveTo>
                  <a:pt x="7980646" y="2264169"/>
                </a:moveTo>
                <a:cubicBezTo>
                  <a:pt x="7793330" y="2264169"/>
                  <a:pt x="7639635" y="2417538"/>
                  <a:pt x="7639635" y="2604455"/>
                </a:cubicBezTo>
                <a:cubicBezTo>
                  <a:pt x="7639635" y="2604455"/>
                  <a:pt x="7639635" y="2604455"/>
                  <a:pt x="7639635" y="3625316"/>
                </a:cubicBezTo>
                <a:cubicBezTo>
                  <a:pt x="7639635" y="3812234"/>
                  <a:pt x="7793330" y="3965603"/>
                  <a:pt x="7980646" y="3965603"/>
                </a:cubicBezTo>
                <a:cubicBezTo>
                  <a:pt x="8167961" y="3965603"/>
                  <a:pt x="8321656" y="3812234"/>
                  <a:pt x="8321656" y="3625316"/>
                </a:cubicBezTo>
                <a:cubicBezTo>
                  <a:pt x="8321656" y="3625316"/>
                  <a:pt x="8321656" y="3625316"/>
                  <a:pt x="8321656" y="2604455"/>
                </a:cubicBezTo>
                <a:cubicBezTo>
                  <a:pt x="8321656" y="2417538"/>
                  <a:pt x="8167961" y="2264169"/>
                  <a:pt x="7980646" y="2264169"/>
                </a:cubicBezTo>
                <a:close/>
                <a:moveTo>
                  <a:pt x="9084416" y="941097"/>
                </a:moveTo>
                <a:cubicBezTo>
                  <a:pt x="8853713" y="941097"/>
                  <a:pt x="8661460" y="1132802"/>
                  <a:pt x="8661460" y="1367640"/>
                </a:cubicBezTo>
                <a:cubicBezTo>
                  <a:pt x="8661460" y="1367640"/>
                  <a:pt x="8661460" y="1367640"/>
                  <a:pt x="8661460" y="4319890"/>
                </a:cubicBezTo>
                <a:cubicBezTo>
                  <a:pt x="8661460" y="4554728"/>
                  <a:pt x="8853713" y="4746432"/>
                  <a:pt x="9084416" y="4746432"/>
                </a:cubicBezTo>
                <a:cubicBezTo>
                  <a:pt x="9319925" y="4746432"/>
                  <a:pt x="9512178" y="4554728"/>
                  <a:pt x="9512178" y="4319890"/>
                </a:cubicBezTo>
                <a:cubicBezTo>
                  <a:pt x="9512178" y="4319890"/>
                  <a:pt x="9512178" y="4319890"/>
                  <a:pt x="9512178" y="1367640"/>
                </a:cubicBezTo>
                <a:cubicBezTo>
                  <a:pt x="9512178" y="1132802"/>
                  <a:pt x="9319925" y="941097"/>
                  <a:pt x="9084416" y="941097"/>
                </a:cubicBezTo>
                <a:close/>
                <a:moveTo>
                  <a:pt x="0" y="0"/>
                </a:moveTo>
                <a:lnTo>
                  <a:pt x="12195174" y="0"/>
                </a:lnTo>
                <a:lnTo>
                  <a:pt x="12195174" y="3250010"/>
                </a:lnTo>
                <a:lnTo>
                  <a:pt x="12154552" y="3253980"/>
                </a:lnTo>
                <a:cubicBezTo>
                  <a:pt x="12058605" y="3272957"/>
                  <a:pt x="11984800" y="3354908"/>
                  <a:pt x="11984800" y="3451568"/>
                </a:cubicBezTo>
                <a:cubicBezTo>
                  <a:pt x="11984800" y="3725337"/>
                  <a:pt x="11984800" y="3725337"/>
                  <a:pt x="11984800" y="3725337"/>
                </a:cubicBezTo>
                <a:cubicBezTo>
                  <a:pt x="11984800" y="3826199"/>
                  <a:pt x="12058605" y="3908675"/>
                  <a:pt x="12154552" y="3927718"/>
                </a:cubicBezTo>
                <a:lnTo>
                  <a:pt x="12195174" y="3931697"/>
                </a:lnTo>
                <a:lnTo>
                  <a:pt x="12195174" y="6859587"/>
                </a:lnTo>
                <a:lnTo>
                  <a:pt x="0" y="685958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tIns="504000" anchor="t" anchorCtr="0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648000" y="1339200"/>
            <a:ext cx="5436000" cy="24732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48000" y="4294800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8000" y="4773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8000" y="5025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4" name="Logotype">
            <a:extLst>
              <a:ext uri="{FF2B5EF4-FFF2-40B4-BE49-F238E27FC236}">
                <a16:creationId xmlns:a16="http://schemas.microsoft.com/office/drawing/2014/main" id="{AA0C9813-7F76-32AC-AEFF-1C7A7D0E03B0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243811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7EAF30B-C6FE-419F-9DDD-2F7C8F7496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7EAF30B-C6FE-419F-9DDD-2F7C8F7496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1" y="360083"/>
            <a:ext cx="7200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1" y="1332001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1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5420554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A4EE704-CBAE-40D3-99B9-2F6866CE5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A4EE704-CBAE-40D3-99B9-2F6866CE5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1" y="360083"/>
            <a:ext cx="7200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59601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8067601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7113466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1AC24A-6007-4B76-A5C1-8CC8F1FCCE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1AC24A-6007-4B76-A5C1-8CC8F1FCCE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1" y="360083"/>
            <a:ext cx="7200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0776427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562821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A3C16D-C06E-450C-B5DA-7A45EA7F67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A3C16D-C06E-450C-B5DA-7A45EA7F67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1" y="360083"/>
            <a:ext cx="7200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316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1" y="1332001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038794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BE3B95-736E-483D-A653-F3B2C00695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BE3B95-736E-483D-A653-F3B2C00695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1" y="1332001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192000" y="1332001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2324396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7D95EF-9A2C-40BF-AAE0-793234876F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7D95EF-9A2C-40BF-AAE0-793234876F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1" y="1332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5"/>
          </p:nvPr>
        </p:nvSpPr>
        <p:spPr>
          <a:xfrm>
            <a:off x="4359601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7601" y="3636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6853734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A31FF3E-3061-4CE9-B026-F21D03D00F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A31FF3E-3061-4CE9-B026-F21D03D00F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980001"/>
            <a:ext cx="10908000" cy="37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6600" y="397565"/>
            <a:ext cx="7200000" cy="943998"/>
          </a:xfrm>
        </p:spPr>
        <p:txBody>
          <a:bodyPr vert="horz">
            <a:noAutofit/>
          </a:bodyPr>
          <a:lstStyle>
            <a:lvl1pPr algn="ctr"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6600" y="1485579"/>
            <a:ext cx="7200000" cy="36044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5285414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98B58E-0E95-4E82-9C08-23A34C1103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98B58E-0E95-4E82-9C08-23A34C1103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6600" y="397565"/>
            <a:ext cx="7200000" cy="943998"/>
          </a:xfrm>
        </p:spPr>
        <p:txBody>
          <a:bodyPr vert="horz">
            <a:noAutofit/>
          </a:bodyPr>
          <a:lstStyle>
            <a:lvl1pPr algn="ctr">
              <a:defRPr sz="3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6600" y="1485579"/>
            <a:ext cx="7200000" cy="36044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2407371" y="1989634"/>
            <a:ext cx="1746000" cy="19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368801" y="1989634"/>
            <a:ext cx="3489325" cy="30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4000" y="1989634"/>
            <a:ext cx="2556000" cy="19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7" hasCustomPrompt="1"/>
          </p:nvPr>
        </p:nvSpPr>
        <p:spPr>
          <a:xfrm>
            <a:off x="8064001" y="4149874"/>
            <a:ext cx="1692000" cy="1332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6878621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Headin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8B65CAA-4762-431A-B2E2-8A39160545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8B65CAA-4762-431A-B2E2-8A39160545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  <a:noFill/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333450"/>
            <a:ext cx="7200000" cy="1009078"/>
          </a:xfrm>
        </p:spPr>
        <p:txBody>
          <a:bodyPr vert="horz"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1510482"/>
            <a:ext cx="7200000" cy="68524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29" name="Line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rgbClr val="8B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Logotype"/>
          <p:cNvGrpSpPr/>
          <p:nvPr userDrawn="1"/>
        </p:nvGrpSpPr>
        <p:grpSpPr>
          <a:xfrm>
            <a:off x="10689466" y="6389301"/>
            <a:ext cx="863687" cy="180102"/>
            <a:chOff x="9501453" y="6148765"/>
            <a:chExt cx="2047875" cy="427037"/>
          </a:xfrm>
        </p:grpSpPr>
        <p:sp>
          <p:nvSpPr>
            <p:cNvPr id="16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8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1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276178302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4959540"/>
            <a:ext cx="7200000" cy="617921"/>
          </a:xfrm>
        </p:spPr>
        <p:txBody>
          <a:bodyPr>
            <a:noAutofit/>
          </a:bodyPr>
          <a:lstStyle>
            <a:lvl1pPr>
              <a:defRPr sz="24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5602855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bg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080977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6332977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F7168929-C546-6900-44DB-CE0B16A737F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-1"/>
            <a:ext cx="12204000" cy="4911479"/>
          </a:xfrm>
          <a:custGeom>
            <a:avLst/>
            <a:gdLst>
              <a:gd name="connsiteX0" fmla="*/ 9926607 w 12204000"/>
              <a:gd name="connsiteY0" fmla="*/ 3747694 h 4911479"/>
              <a:gd name="connsiteX1" fmla="*/ 9822564 w 12204000"/>
              <a:gd name="connsiteY1" fmla="*/ 3851991 h 4911479"/>
              <a:gd name="connsiteX2" fmla="*/ 9822564 w 12204000"/>
              <a:gd name="connsiteY2" fmla="*/ 3993537 h 4911479"/>
              <a:gd name="connsiteX3" fmla="*/ 9926607 w 12204000"/>
              <a:gd name="connsiteY3" fmla="*/ 4100317 h 4911479"/>
              <a:gd name="connsiteX4" fmla="*/ 10030649 w 12204000"/>
              <a:gd name="connsiteY4" fmla="*/ 3993537 h 4911479"/>
              <a:gd name="connsiteX5" fmla="*/ 10030649 w 12204000"/>
              <a:gd name="connsiteY5" fmla="*/ 3851991 h 4911479"/>
              <a:gd name="connsiteX6" fmla="*/ 9926607 w 12204000"/>
              <a:gd name="connsiteY6" fmla="*/ 3747694 h 4911479"/>
              <a:gd name="connsiteX7" fmla="*/ 10347760 w 12204000"/>
              <a:gd name="connsiteY7" fmla="*/ 3238074 h 4911479"/>
              <a:gd name="connsiteX8" fmla="*/ 10171448 w 12204000"/>
              <a:gd name="connsiteY8" fmla="*/ 3414011 h 4911479"/>
              <a:gd name="connsiteX9" fmla="*/ 10171448 w 12204000"/>
              <a:gd name="connsiteY9" fmla="*/ 3941824 h 4911479"/>
              <a:gd name="connsiteX10" fmla="*/ 10347760 w 12204000"/>
              <a:gd name="connsiteY10" fmla="*/ 4117761 h 4911479"/>
              <a:gd name="connsiteX11" fmla="*/ 10524071 w 12204000"/>
              <a:gd name="connsiteY11" fmla="*/ 3941824 h 4911479"/>
              <a:gd name="connsiteX12" fmla="*/ 10524071 w 12204000"/>
              <a:gd name="connsiteY12" fmla="*/ 3414011 h 4911479"/>
              <a:gd name="connsiteX13" fmla="*/ 10347760 w 12204000"/>
              <a:gd name="connsiteY13" fmla="*/ 3238074 h 4911479"/>
              <a:gd name="connsiteX14" fmla="*/ 10918439 w 12204000"/>
              <a:gd name="connsiteY14" fmla="*/ 2554011 h 4911479"/>
              <a:gd name="connsiteX15" fmla="*/ 10699759 w 12204000"/>
              <a:gd name="connsiteY15" fmla="*/ 2774545 h 4911479"/>
              <a:gd name="connsiteX16" fmla="*/ 10699759 w 12204000"/>
              <a:gd name="connsiteY16" fmla="*/ 4300936 h 4911479"/>
              <a:gd name="connsiteX17" fmla="*/ 10918439 w 12204000"/>
              <a:gd name="connsiteY17" fmla="*/ 4521470 h 4911479"/>
              <a:gd name="connsiteX18" fmla="*/ 11139603 w 12204000"/>
              <a:gd name="connsiteY18" fmla="*/ 4300936 h 4911479"/>
              <a:gd name="connsiteX19" fmla="*/ 11139603 w 12204000"/>
              <a:gd name="connsiteY19" fmla="*/ 2774545 h 4911479"/>
              <a:gd name="connsiteX20" fmla="*/ 10918439 w 12204000"/>
              <a:gd name="connsiteY20" fmla="*/ 2554011 h 4911479"/>
              <a:gd name="connsiteX21" fmla="*/ 0 w 12204000"/>
              <a:gd name="connsiteY21" fmla="*/ 0 h 4911479"/>
              <a:gd name="connsiteX22" fmla="*/ 12204000 w 12204000"/>
              <a:gd name="connsiteY22" fmla="*/ 0 h 4911479"/>
              <a:gd name="connsiteX23" fmla="*/ 12204000 w 12204000"/>
              <a:gd name="connsiteY23" fmla="*/ 3764192 h 4911479"/>
              <a:gd name="connsiteX24" fmla="*/ 12174294 w 12204000"/>
              <a:gd name="connsiteY24" fmla="*/ 3744149 h 4911479"/>
              <a:gd name="connsiteX25" fmla="*/ 12105887 w 12204000"/>
              <a:gd name="connsiteY25" fmla="*/ 3730249 h 4911479"/>
              <a:gd name="connsiteX26" fmla="*/ 11929576 w 12204000"/>
              <a:gd name="connsiteY26" fmla="*/ 3906184 h 4911479"/>
              <a:gd name="connsiteX27" fmla="*/ 11929576 w 12204000"/>
              <a:gd name="connsiteY27" fmla="*/ 4431510 h 4911479"/>
              <a:gd name="connsiteX28" fmla="*/ 12105887 w 12204000"/>
              <a:gd name="connsiteY28" fmla="*/ 4607444 h 4911479"/>
              <a:gd name="connsiteX29" fmla="*/ 12174294 w 12204000"/>
              <a:gd name="connsiteY29" fmla="*/ 4593544 h 4911479"/>
              <a:gd name="connsiteX30" fmla="*/ 12204000 w 12204000"/>
              <a:gd name="connsiteY30" fmla="*/ 4573503 h 4911479"/>
              <a:gd name="connsiteX31" fmla="*/ 12204000 w 12204000"/>
              <a:gd name="connsiteY31" fmla="*/ 4911479 h 4911479"/>
              <a:gd name="connsiteX32" fmla="*/ 11753887 w 12204000"/>
              <a:gd name="connsiteY32" fmla="*/ 4911479 h 4911479"/>
              <a:gd name="connsiteX33" fmla="*/ 11753887 w 12204000"/>
              <a:gd name="connsiteY33" fmla="*/ 4882357 h 4911479"/>
              <a:gd name="connsiteX34" fmla="*/ 11753887 w 12204000"/>
              <a:gd name="connsiteY34" fmla="*/ 3544596 h 4911479"/>
              <a:gd name="connsiteX35" fmla="*/ 11533350 w 12204000"/>
              <a:gd name="connsiteY35" fmla="*/ 3326540 h 4911479"/>
              <a:gd name="connsiteX36" fmla="*/ 11315290 w 12204000"/>
              <a:gd name="connsiteY36" fmla="*/ 3544596 h 4911479"/>
              <a:gd name="connsiteX37" fmla="*/ 11315290 w 12204000"/>
              <a:gd name="connsiteY37" fmla="*/ 4804345 h 4911479"/>
              <a:gd name="connsiteX38" fmla="*/ 11315290 w 12204000"/>
              <a:gd name="connsiteY38" fmla="*/ 4911479 h 4911479"/>
              <a:gd name="connsiteX39" fmla="*/ 0 w 12204000"/>
              <a:gd name="connsiteY39" fmla="*/ 4911479 h 4911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2204000" h="4911479">
                <a:moveTo>
                  <a:pt x="9926607" y="3747694"/>
                </a:moveTo>
                <a:cubicBezTo>
                  <a:pt x="9867154" y="3747694"/>
                  <a:pt x="9822564" y="3794876"/>
                  <a:pt x="9822564" y="3851991"/>
                </a:cubicBezTo>
                <a:cubicBezTo>
                  <a:pt x="9822564" y="3851991"/>
                  <a:pt x="9822564" y="3851991"/>
                  <a:pt x="9822564" y="3993537"/>
                </a:cubicBezTo>
                <a:cubicBezTo>
                  <a:pt x="9822564" y="4053135"/>
                  <a:pt x="9867154" y="4100317"/>
                  <a:pt x="9926607" y="4100317"/>
                </a:cubicBezTo>
                <a:cubicBezTo>
                  <a:pt x="9983582" y="4100317"/>
                  <a:pt x="10030649" y="4053135"/>
                  <a:pt x="10030649" y="3993537"/>
                </a:cubicBezTo>
                <a:cubicBezTo>
                  <a:pt x="10030649" y="3993537"/>
                  <a:pt x="10030649" y="3993537"/>
                  <a:pt x="10030649" y="3851991"/>
                </a:cubicBezTo>
                <a:cubicBezTo>
                  <a:pt x="10030649" y="3794876"/>
                  <a:pt x="9983582" y="3747694"/>
                  <a:pt x="9926607" y="3747694"/>
                </a:cubicBezTo>
                <a:close/>
                <a:moveTo>
                  <a:pt x="10347760" y="3238074"/>
                </a:moveTo>
                <a:cubicBezTo>
                  <a:pt x="10250913" y="3238074"/>
                  <a:pt x="10171448" y="3317370"/>
                  <a:pt x="10171448" y="3414011"/>
                </a:cubicBezTo>
                <a:cubicBezTo>
                  <a:pt x="10171448" y="3414011"/>
                  <a:pt x="10171448" y="3414011"/>
                  <a:pt x="10171448" y="3941824"/>
                </a:cubicBezTo>
                <a:cubicBezTo>
                  <a:pt x="10171448" y="4038465"/>
                  <a:pt x="10250913" y="4117761"/>
                  <a:pt x="10347760" y="4117761"/>
                </a:cubicBezTo>
                <a:cubicBezTo>
                  <a:pt x="10444607" y="4117761"/>
                  <a:pt x="10524071" y="4038465"/>
                  <a:pt x="10524071" y="3941824"/>
                </a:cubicBezTo>
                <a:cubicBezTo>
                  <a:pt x="10524071" y="3941824"/>
                  <a:pt x="10524071" y="3941824"/>
                  <a:pt x="10524071" y="3414011"/>
                </a:cubicBezTo>
                <a:cubicBezTo>
                  <a:pt x="10524071" y="3317370"/>
                  <a:pt x="10444607" y="3238074"/>
                  <a:pt x="10347760" y="3238074"/>
                </a:cubicBezTo>
                <a:close/>
                <a:moveTo>
                  <a:pt x="10918439" y="2554011"/>
                </a:moveTo>
                <a:cubicBezTo>
                  <a:pt x="10799159" y="2554011"/>
                  <a:pt x="10699759" y="2653127"/>
                  <a:pt x="10699759" y="2774545"/>
                </a:cubicBezTo>
                <a:cubicBezTo>
                  <a:pt x="10699759" y="2774545"/>
                  <a:pt x="10699759" y="2774545"/>
                  <a:pt x="10699759" y="4300936"/>
                </a:cubicBezTo>
                <a:cubicBezTo>
                  <a:pt x="10699759" y="4422354"/>
                  <a:pt x="10799159" y="4521470"/>
                  <a:pt x="10918439" y="4521470"/>
                </a:cubicBezTo>
                <a:cubicBezTo>
                  <a:pt x="11040203" y="4521470"/>
                  <a:pt x="11139603" y="4422354"/>
                  <a:pt x="11139603" y="4300936"/>
                </a:cubicBezTo>
                <a:cubicBezTo>
                  <a:pt x="11139603" y="4300936"/>
                  <a:pt x="11139603" y="4300936"/>
                  <a:pt x="11139603" y="2774545"/>
                </a:cubicBezTo>
                <a:cubicBezTo>
                  <a:pt x="11139603" y="2653127"/>
                  <a:pt x="11040203" y="2554011"/>
                  <a:pt x="10918439" y="2554011"/>
                </a:cubicBezTo>
                <a:close/>
                <a:moveTo>
                  <a:pt x="0" y="0"/>
                </a:moveTo>
                <a:lnTo>
                  <a:pt x="12204000" y="0"/>
                </a:lnTo>
                <a:lnTo>
                  <a:pt x="12204000" y="3764192"/>
                </a:lnTo>
                <a:lnTo>
                  <a:pt x="12174294" y="3744149"/>
                </a:lnTo>
                <a:cubicBezTo>
                  <a:pt x="12153224" y="3735205"/>
                  <a:pt x="12130099" y="3730249"/>
                  <a:pt x="12105887" y="3730249"/>
                </a:cubicBezTo>
                <a:cubicBezTo>
                  <a:pt x="12009040" y="3730249"/>
                  <a:pt x="11929576" y="3809544"/>
                  <a:pt x="11929576" y="3906184"/>
                </a:cubicBezTo>
                <a:cubicBezTo>
                  <a:pt x="11929576" y="3906184"/>
                  <a:pt x="11929576" y="3906184"/>
                  <a:pt x="11929576" y="4431510"/>
                </a:cubicBezTo>
                <a:cubicBezTo>
                  <a:pt x="11929576" y="4528150"/>
                  <a:pt x="12009040" y="4607444"/>
                  <a:pt x="12105887" y="4607444"/>
                </a:cubicBezTo>
                <a:cubicBezTo>
                  <a:pt x="12130099" y="4607444"/>
                  <a:pt x="12153224" y="4602488"/>
                  <a:pt x="12174294" y="4593544"/>
                </a:cubicBezTo>
                <a:lnTo>
                  <a:pt x="12204000" y="4573503"/>
                </a:lnTo>
                <a:lnTo>
                  <a:pt x="12204000" y="4911479"/>
                </a:lnTo>
                <a:lnTo>
                  <a:pt x="11753887" y="4911479"/>
                </a:lnTo>
                <a:lnTo>
                  <a:pt x="11753887" y="4882357"/>
                </a:lnTo>
                <a:cubicBezTo>
                  <a:pt x="11753887" y="4691248"/>
                  <a:pt x="11753887" y="4309031"/>
                  <a:pt x="11753887" y="3544596"/>
                </a:cubicBezTo>
                <a:cubicBezTo>
                  <a:pt x="11753887" y="3425656"/>
                  <a:pt x="11654769" y="3326540"/>
                  <a:pt x="11533350" y="3326540"/>
                </a:cubicBezTo>
                <a:cubicBezTo>
                  <a:pt x="11414408" y="3326540"/>
                  <a:pt x="11315290" y="3425656"/>
                  <a:pt x="11315290" y="3544596"/>
                </a:cubicBezTo>
                <a:cubicBezTo>
                  <a:pt x="11315290" y="3544596"/>
                  <a:pt x="11315290" y="3544596"/>
                  <a:pt x="11315290" y="4804345"/>
                </a:cubicBezTo>
                <a:lnTo>
                  <a:pt x="11315290" y="4911479"/>
                </a:lnTo>
                <a:lnTo>
                  <a:pt x="0" y="4911479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anchor="ctr" anchorCtr="0">
            <a:noAutofit/>
          </a:bodyPr>
          <a:lstStyle>
            <a:lvl1pPr marL="0" marR="0" indent="0" algn="ctr" defTabSz="1088776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38" name="Pulse">
            <a:extLst>
              <a:ext uri="{FF2B5EF4-FFF2-40B4-BE49-F238E27FC236}">
                <a16:creationId xmlns:a16="http://schemas.microsoft.com/office/drawing/2014/main" id="{437A1C0F-02A0-4154-9BE2-4CC52A926281}"/>
              </a:ext>
            </a:extLst>
          </p:cNvPr>
          <p:cNvSpPr>
            <a:spLocks/>
          </p:cNvSpPr>
          <p:nvPr userDrawn="1"/>
        </p:nvSpPr>
        <p:spPr bwMode="auto">
          <a:xfrm>
            <a:off x="9824400" y="2552400"/>
            <a:ext cx="2391674" cy="2739988"/>
          </a:xfrm>
          <a:custGeom>
            <a:avLst/>
            <a:gdLst>
              <a:gd name="connsiteX0" fmla="*/ 104043 w 2391674"/>
              <a:gd name="connsiteY0" fmla="*/ 1193683 h 2739988"/>
              <a:gd name="connsiteX1" fmla="*/ 208085 w 2391674"/>
              <a:gd name="connsiteY1" fmla="*/ 1297980 h 2739988"/>
              <a:gd name="connsiteX2" fmla="*/ 208085 w 2391674"/>
              <a:gd name="connsiteY2" fmla="*/ 1439526 h 2739988"/>
              <a:gd name="connsiteX3" fmla="*/ 104043 w 2391674"/>
              <a:gd name="connsiteY3" fmla="*/ 1546306 h 2739988"/>
              <a:gd name="connsiteX4" fmla="*/ 0 w 2391674"/>
              <a:gd name="connsiteY4" fmla="*/ 1439526 h 2739988"/>
              <a:gd name="connsiteX5" fmla="*/ 0 w 2391674"/>
              <a:gd name="connsiteY5" fmla="*/ 1297980 h 2739988"/>
              <a:gd name="connsiteX6" fmla="*/ 104043 w 2391674"/>
              <a:gd name="connsiteY6" fmla="*/ 1193683 h 2739988"/>
              <a:gd name="connsiteX7" fmla="*/ 2283323 w 2391674"/>
              <a:gd name="connsiteY7" fmla="*/ 1176238 h 2739988"/>
              <a:gd name="connsiteX8" fmla="*/ 2351730 w 2391674"/>
              <a:gd name="connsiteY8" fmla="*/ 1190138 h 2739988"/>
              <a:gd name="connsiteX9" fmla="*/ 2391674 w 2391674"/>
              <a:gd name="connsiteY9" fmla="*/ 1217088 h 2739988"/>
              <a:gd name="connsiteX10" fmla="*/ 2391674 w 2391674"/>
              <a:gd name="connsiteY10" fmla="*/ 2012584 h 2739988"/>
              <a:gd name="connsiteX11" fmla="*/ 2351730 w 2391674"/>
              <a:gd name="connsiteY11" fmla="*/ 2039533 h 2739988"/>
              <a:gd name="connsiteX12" fmla="*/ 2283323 w 2391674"/>
              <a:gd name="connsiteY12" fmla="*/ 2053433 h 2739988"/>
              <a:gd name="connsiteX13" fmla="*/ 2107012 w 2391674"/>
              <a:gd name="connsiteY13" fmla="*/ 1877499 h 2739988"/>
              <a:gd name="connsiteX14" fmla="*/ 2107012 w 2391674"/>
              <a:gd name="connsiteY14" fmla="*/ 1352173 h 2739988"/>
              <a:gd name="connsiteX15" fmla="*/ 2283323 w 2391674"/>
              <a:gd name="connsiteY15" fmla="*/ 1176238 h 2739988"/>
              <a:gd name="connsiteX16" fmla="*/ 1710786 w 2391674"/>
              <a:gd name="connsiteY16" fmla="*/ 772529 h 2739988"/>
              <a:gd name="connsiteX17" fmla="*/ 1931323 w 2391674"/>
              <a:gd name="connsiteY17" fmla="*/ 990585 h 2739988"/>
              <a:gd name="connsiteX18" fmla="*/ 1931323 w 2391674"/>
              <a:gd name="connsiteY18" fmla="*/ 2519454 h 2739988"/>
              <a:gd name="connsiteX19" fmla="*/ 1710786 w 2391674"/>
              <a:gd name="connsiteY19" fmla="*/ 2739988 h 2739988"/>
              <a:gd name="connsiteX20" fmla="*/ 1492726 w 2391674"/>
              <a:gd name="connsiteY20" fmla="*/ 2519454 h 2739988"/>
              <a:gd name="connsiteX21" fmla="*/ 1492726 w 2391674"/>
              <a:gd name="connsiteY21" fmla="*/ 990585 h 2739988"/>
              <a:gd name="connsiteX22" fmla="*/ 1710786 w 2391674"/>
              <a:gd name="connsiteY22" fmla="*/ 772529 h 2739988"/>
              <a:gd name="connsiteX23" fmla="*/ 525196 w 2391674"/>
              <a:gd name="connsiteY23" fmla="*/ 684063 h 2739988"/>
              <a:gd name="connsiteX24" fmla="*/ 701507 w 2391674"/>
              <a:gd name="connsiteY24" fmla="*/ 860000 h 2739988"/>
              <a:gd name="connsiteX25" fmla="*/ 701507 w 2391674"/>
              <a:gd name="connsiteY25" fmla="*/ 1387813 h 2739988"/>
              <a:gd name="connsiteX26" fmla="*/ 525196 w 2391674"/>
              <a:gd name="connsiteY26" fmla="*/ 1563750 h 2739988"/>
              <a:gd name="connsiteX27" fmla="*/ 348884 w 2391674"/>
              <a:gd name="connsiteY27" fmla="*/ 1387813 h 2739988"/>
              <a:gd name="connsiteX28" fmla="*/ 348884 w 2391674"/>
              <a:gd name="connsiteY28" fmla="*/ 860000 h 2739988"/>
              <a:gd name="connsiteX29" fmla="*/ 525196 w 2391674"/>
              <a:gd name="connsiteY29" fmla="*/ 684063 h 2739988"/>
              <a:gd name="connsiteX30" fmla="*/ 1095875 w 2391674"/>
              <a:gd name="connsiteY30" fmla="*/ 0 h 2739988"/>
              <a:gd name="connsiteX31" fmla="*/ 1317039 w 2391674"/>
              <a:gd name="connsiteY31" fmla="*/ 220534 h 2739988"/>
              <a:gd name="connsiteX32" fmla="*/ 1317039 w 2391674"/>
              <a:gd name="connsiteY32" fmla="*/ 1746925 h 2739988"/>
              <a:gd name="connsiteX33" fmla="*/ 1095875 w 2391674"/>
              <a:gd name="connsiteY33" fmla="*/ 1967459 h 2739988"/>
              <a:gd name="connsiteX34" fmla="*/ 877195 w 2391674"/>
              <a:gd name="connsiteY34" fmla="*/ 1746925 h 2739988"/>
              <a:gd name="connsiteX35" fmla="*/ 877195 w 2391674"/>
              <a:gd name="connsiteY35" fmla="*/ 220534 h 2739988"/>
              <a:gd name="connsiteX36" fmla="*/ 1095875 w 2391674"/>
              <a:gd name="connsiteY36" fmla="*/ 0 h 273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391674" h="2739988">
                <a:moveTo>
                  <a:pt x="104043" y="1193683"/>
                </a:moveTo>
                <a:cubicBezTo>
                  <a:pt x="161018" y="1193683"/>
                  <a:pt x="208085" y="1240865"/>
                  <a:pt x="208085" y="1297980"/>
                </a:cubicBezTo>
                <a:cubicBezTo>
                  <a:pt x="208085" y="1439526"/>
                  <a:pt x="208085" y="1439526"/>
                  <a:pt x="208085" y="1439526"/>
                </a:cubicBezTo>
                <a:cubicBezTo>
                  <a:pt x="208085" y="1499124"/>
                  <a:pt x="161018" y="1546306"/>
                  <a:pt x="104043" y="1546306"/>
                </a:cubicBezTo>
                <a:cubicBezTo>
                  <a:pt x="44590" y="1546306"/>
                  <a:pt x="0" y="1499124"/>
                  <a:pt x="0" y="1439526"/>
                </a:cubicBezTo>
                <a:cubicBezTo>
                  <a:pt x="0" y="1297980"/>
                  <a:pt x="0" y="1297980"/>
                  <a:pt x="0" y="1297980"/>
                </a:cubicBezTo>
                <a:cubicBezTo>
                  <a:pt x="0" y="1240865"/>
                  <a:pt x="44590" y="1193683"/>
                  <a:pt x="104043" y="1193683"/>
                </a:cubicBezTo>
                <a:close/>
                <a:moveTo>
                  <a:pt x="2283323" y="1176238"/>
                </a:moveTo>
                <a:cubicBezTo>
                  <a:pt x="2307535" y="1176238"/>
                  <a:pt x="2330660" y="1181194"/>
                  <a:pt x="2351730" y="1190138"/>
                </a:cubicBezTo>
                <a:lnTo>
                  <a:pt x="2391674" y="1217088"/>
                </a:lnTo>
                <a:lnTo>
                  <a:pt x="2391674" y="2012584"/>
                </a:lnTo>
                <a:lnTo>
                  <a:pt x="2351730" y="2039533"/>
                </a:lnTo>
                <a:cubicBezTo>
                  <a:pt x="2330660" y="2048477"/>
                  <a:pt x="2307535" y="2053433"/>
                  <a:pt x="2283323" y="2053433"/>
                </a:cubicBezTo>
                <a:cubicBezTo>
                  <a:pt x="2186476" y="2053433"/>
                  <a:pt x="2107012" y="1974139"/>
                  <a:pt x="2107012" y="1877499"/>
                </a:cubicBezTo>
                <a:cubicBezTo>
                  <a:pt x="2107012" y="1352173"/>
                  <a:pt x="2107012" y="1352173"/>
                  <a:pt x="2107012" y="1352173"/>
                </a:cubicBezTo>
                <a:cubicBezTo>
                  <a:pt x="2107012" y="1255533"/>
                  <a:pt x="2186476" y="1176238"/>
                  <a:pt x="2283323" y="1176238"/>
                </a:cubicBezTo>
                <a:close/>
                <a:moveTo>
                  <a:pt x="1710786" y="772529"/>
                </a:moveTo>
                <a:cubicBezTo>
                  <a:pt x="1832205" y="772529"/>
                  <a:pt x="1931323" y="871645"/>
                  <a:pt x="1931323" y="990585"/>
                </a:cubicBezTo>
                <a:cubicBezTo>
                  <a:pt x="1931323" y="2519454"/>
                  <a:pt x="1931323" y="2519454"/>
                  <a:pt x="1931323" y="2519454"/>
                </a:cubicBezTo>
                <a:cubicBezTo>
                  <a:pt x="1931323" y="2640872"/>
                  <a:pt x="1832205" y="2739988"/>
                  <a:pt x="1710786" y="2739988"/>
                </a:cubicBezTo>
                <a:cubicBezTo>
                  <a:pt x="1591844" y="2739988"/>
                  <a:pt x="1492726" y="2640872"/>
                  <a:pt x="1492726" y="2519454"/>
                </a:cubicBezTo>
                <a:cubicBezTo>
                  <a:pt x="1492726" y="990585"/>
                  <a:pt x="1492726" y="990585"/>
                  <a:pt x="1492726" y="990585"/>
                </a:cubicBezTo>
                <a:cubicBezTo>
                  <a:pt x="1492726" y="871645"/>
                  <a:pt x="1591844" y="772529"/>
                  <a:pt x="1710786" y="772529"/>
                </a:cubicBezTo>
                <a:close/>
                <a:moveTo>
                  <a:pt x="525196" y="684063"/>
                </a:moveTo>
                <a:cubicBezTo>
                  <a:pt x="622043" y="684063"/>
                  <a:pt x="701507" y="763359"/>
                  <a:pt x="701507" y="860000"/>
                </a:cubicBezTo>
                <a:cubicBezTo>
                  <a:pt x="701507" y="1387813"/>
                  <a:pt x="701507" y="1387813"/>
                  <a:pt x="701507" y="1387813"/>
                </a:cubicBezTo>
                <a:cubicBezTo>
                  <a:pt x="701507" y="1484454"/>
                  <a:pt x="622043" y="1563750"/>
                  <a:pt x="525196" y="1563750"/>
                </a:cubicBezTo>
                <a:cubicBezTo>
                  <a:pt x="428349" y="1563750"/>
                  <a:pt x="348884" y="1484454"/>
                  <a:pt x="348884" y="1387813"/>
                </a:cubicBezTo>
                <a:cubicBezTo>
                  <a:pt x="348884" y="860000"/>
                  <a:pt x="348884" y="860000"/>
                  <a:pt x="348884" y="860000"/>
                </a:cubicBezTo>
                <a:cubicBezTo>
                  <a:pt x="348884" y="763359"/>
                  <a:pt x="428349" y="684063"/>
                  <a:pt x="525196" y="684063"/>
                </a:cubicBezTo>
                <a:close/>
                <a:moveTo>
                  <a:pt x="1095875" y="0"/>
                </a:moveTo>
                <a:cubicBezTo>
                  <a:pt x="1217639" y="0"/>
                  <a:pt x="1317039" y="99116"/>
                  <a:pt x="1317039" y="220534"/>
                </a:cubicBezTo>
                <a:cubicBezTo>
                  <a:pt x="1317039" y="1746925"/>
                  <a:pt x="1317039" y="1746925"/>
                  <a:pt x="1317039" y="1746925"/>
                </a:cubicBezTo>
                <a:cubicBezTo>
                  <a:pt x="1317039" y="1868343"/>
                  <a:pt x="1217639" y="1967459"/>
                  <a:pt x="1095875" y="1967459"/>
                </a:cubicBezTo>
                <a:cubicBezTo>
                  <a:pt x="976595" y="1967459"/>
                  <a:pt x="877195" y="1868343"/>
                  <a:pt x="877195" y="1746925"/>
                </a:cubicBezTo>
                <a:cubicBezTo>
                  <a:pt x="877195" y="220534"/>
                  <a:pt x="877195" y="220534"/>
                  <a:pt x="877195" y="220534"/>
                </a:cubicBezTo>
                <a:cubicBezTo>
                  <a:pt x="877195" y="99116"/>
                  <a:pt x="976595" y="0"/>
                  <a:pt x="109587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5" name="Logotype">
            <a:extLst>
              <a:ext uri="{FF2B5EF4-FFF2-40B4-BE49-F238E27FC236}">
                <a16:creationId xmlns:a16="http://schemas.microsoft.com/office/drawing/2014/main" id="{0D585B6D-CABE-5C63-D893-BD24D22C24BC}"/>
              </a:ext>
            </a:extLst>
          </p:cNvPr>
          <p:cNvSpPr>
            <a:spLocks noChangeAspect="1"/>
          </p:cNvSpPr>
          <p:nvPr userDrawn="1"/>
        </p:nvSpPr>
        <p:spPr>
          <a:xfrm>
            <a:off x="10277295" y="615212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35909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1A5ADCA-DB62-4D50-8CF9-6D486E2819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1A5ADCA-DB62-4D50-8CF9-6D486E281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9201"/>
            <a:ext cx="7200000" cy="748800"/>
          </a:xfrm>
        </p:spPr>
        <p:txBody>
          <a:bodyPr vert="horz">
            <a:noAutofit/>
          </a:bodyPr>
          <a:lstStyle>
            <a:lvl1pPr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0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19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20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316426049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lse Patter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84C83E-E7F2-4A41-A3AF-EB7BF0D89D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84C83E-E7F2-4A41-A3AF-EB7BF0D89D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9201"/>
            <a:ext cx="7200000" cy="748800"/>
          </a:xfrm>
        </p:spPr>
        <p:txBody>
          <a:bodyPr vert="horz">
            <a:noAutofit/>
          </a:bodyPr>
          <a:lstStyle>
            <a:lvl1pPr>
              <a:defRPr sz="23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50"/>
            <a:ext cx="7200000" cy="360083"/>
          </a:xfrm>
        </p:spPr>
        <p:txBody>
          <a:bodyPr/>
          <a:lstStyle>
            <a:lvl1pPr marL="0" indent="0" algn="l">
              <a:buNone/>
              <a:defRPr b="1">
                <a:solidFill>
                  <a:srgbClr val="FFFFFF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60" name="Pulse"/>
          <p:cNvGrpSpPr/>
          <p:nvPr userDrawn="1"/>
        </p:nvGrpSpPr>
        <p:grpSpPr>
          <a:xfrm>
            <a:off x="1" y="2990851"/>
            <a:ext cx="12204000" cy="3559175"/>
            <a:chOff x="0" y="2990850"/>
            <a:chExt cx="12204700" cy="3559175"/>
          </a:xfrm>
          <a:solidFill>
            <a:srgbClr val="0000FF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182086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9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1211263" y="4605338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447675" y="4105275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0529888" y="3994150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09491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8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3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1183938" y="3144838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7742238" y="4083050"/>
              <a:ext cx="434975" cy="1092200"/>
            </a:xfrm>
            <a:custGeom>
              <a:avLst/>
              <a:gdLst>
                <a:gd name="T0" fmla="*/ 69 w 137"/>
                <a:gd name="T1" fmla="*/ 13 h 343"/>
                <a:gd name="T2" fmla="*/ 124 w 137"/>
                <a:gd name="T3" fmla="*/ 68 h 343"/>
                <a:gd name="T4" fmla="*/ 124 w 137"/>
                <a:gd name="T5" fmla="*/ 274 h 343"/>
                <a:gd name="T6" fmla="*/ 69 w 137"/>
                <a:gd name="T7" fmla="*/ 329 h 343"/>
                <a:gd name="T8" fmla="*/ 14 w 137"/>
                <a:gd name="T9" fmla="*/ 274 h 343"/>
                <a:gd name="T10" fmla="*/ 14 w 137"/>
                <a:gd name="T11" fmla="*/ 68 h 343"/>
                <a:gd name="T12" fmla="*/ 69 w 137"/>
                <a:gd name="T13" fmla="*/ 13 h 343"/>
                <a:gd name="T14" fmla="*/ 69 w 137"/>
                <a:gd name="T15" fmla="*/ 0 h 343"/>
                <a:gd name="T16" fmla="*/ 69 w 137"/>
                <a:gd name="T17" fmla="*/ 0 h 343"/>
                <a:gd name="T18" fmla="*/ 0 w 137"/>
                <a:gd name="T19" fmla="*/ 68 h 343"/>
                <a:gd name="T20" fmla="*/ 0 w 137"/>
                <a:gd name="T21" fmla="*/ 274 h 343"/>
                <a:gd name="T22" fmla="*/ 69 w 137"/>
                <a:gd name="T23" fmla="*/ 343 h 343"/>
                <a:gd name="T24" fmla="*/ 137 w 137"/>
                <a:gd name="T25" fmla="*/ 274 h 343"/>
                <a:gd name="T26" fmla="*/ 137 w 137"/>
                <a:gd name="T27" fmla="*/ 68 h 343"/>
                <a:gd name="T28" fmla="*/ 69 w 137"/>
                <a:gd name="T29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7" y="312"/>
                    <a:pt x="137" y="274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9" name="Freeform 12"/>
            <p:cNvSpPr>
              <a:spLocks/>
            </p:cNvSpPr>
            <p:nvPr userDrawn="1"/>
          </p:nvSpPr>
          <p:spPr bwMode="auto">
            <a:xfrm>
              <a:off x="9480550" y="4605338"/>
              <a:ext cx="439738" cy="1092200"/>
            </a:xfrm>
            <a:custGeom>
              <a:avLst/>
              <a:gdLst>
                <a:gd name="T0" fmla="*/ 69 w 138"/>
                <a:gd name="T1" fmla="*/ 343 h 343"/>
                <a:gd name="T2" fmla="*/ 69 w 138"/>
                <a:gd name="T3" fmla="*/ 343 h 343"/>
                <a:gd name="T4" fmla="*/ 0 w 138"/>
                <a:gd name="T5" fmla="*/ 275 h 343"/>
                <a:gd name="T6" fmla="*/ 0 w 138"/>
                <a:gd name="T7" fmla="*/ 69 h 343"/>
                <a:gd name="T8" fmla="*/ 69 w 138"/>
                <a:gd name="T9" fmla="*/ 0 h 343"/>
                <a:gd name="T10" fmla="*/ 138 w 138"/>
                <a:gd name="T11" fmla="*/ 69 h 343"/>
                <a:gd name="T12" fmla="*/ 138 w 138"/>
                <a:gd name="T13" fmla="*/ 275 h 343"/>
                <a:gd name="T14" fmla="*/ 69 w 138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8" y="31"/>
                    <a:pt x="138" y="69"/>
                  </a:cubicBezTo>
                  <a:cubicBezTo>
                    <a:pt x="138" y="275"/>
                    <a:pt x="138" y="275"/>
                    <a:pt x="138" y="275"/>
                  </a:cubicBezTo>
                  <a:cubicBezTo>
                    <a:pt x="138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6" name="Freeform 13"/>
            <p:cNvSpPr>
              <a:spLocks noEditPoints="1"/>
            </p:cNvSpPr>
            <p:nvPr userDrawn="1"/>
          </p:nvSpPr>
          <p:spPr bwMode="auto">
            <a:xfrm>
              <a:off x="83978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8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8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7" name="Freeform 14"/>
            <p:cNvSpPr>
              <a:spLocks noEditPoints="1"/>
            </p:cNvSpPr>
            <p:nvPr userDrawn="1"/>
          </p:nvSpPr>
          <p:spPr bwMode="auto">
            <a:xfrm>
              <a:off x="1951038" y="4083050"/>
              <a:ext cx="439738" cy="1092200"/>
            </a:xfrm>
            <a:custGeom>
              <a:avLst/>
              <a:gdLst>
                <a:gd name="T0" fmla="*/ 69 w 138"/>
                <a:gd name="T1" fmla="*/ 13 h 343"/>
                <a:gd name="T2" fmla="*/ 124 w 138"/>
                <a:gd name="T3" fmla="*/ 68 h 343"/>
                <a:gd name="T4" fmla="*/ 124 w 138"/>
                <a:gd name="T5" fmla="*/ 274 h 343"/>
                <a:gd name="T6" fmla="*/ 69 w 138"/>
                <a:gd name="T7" fmla="*/ 329 h 343"/>
                <a:gd name="T8" fmla="*/ 14 w 138"/>
                <a:gd name="T9" fmla="*/ 274 h 343"/>
                <a:gd name="T10" fmla="*/ 14 w 138"/>
                <a:gd name="T11" fmla="*/ 68 h 343"/>
                <a:gd name="T12" fmla="*/ 69 w 138"/>
                <a:gd name="T13" fmla="*/ 13 h 343"/>
                <a:gd name="T14" fmla="*/ 69 w 138"/>
                <a:gd name="T15" fmla="*/ 0 h 343"/>
                <a:gd name="T16" fmla="*/ 0 w 138"/>
                <a:gd name="T17" fmla="*/ 68 h 343"/>
                <a:gd name="T18" fmla="*/ 0 w 138"/>
                <a:gd name="T19" fmla="*/ 274 h 343"/>
                <a:gd name="T20" fmla="*/ 69 w 138"/>
                <a:gd name="T21" fmla="*/ 343 h 343"/>
                <a:gd name="T22" fmla="*/ 138 w 138"/>
                <a:gd name="T23" fmla="*/ 274 h 343"/>
                <a:gd name="T24" fmla="*/ 138 w 138"/>
                <a:gd name="T25" fmla="*/ 68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8" y="312"/>
                    <a:pt x="138" y="274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8" name="Freeform 15"/>
            <p:cNvSpPr>
              <a:spLocks noEditPoints="1"/>
            </p:cNvSpPr>
            <p:nvPr userDrawn="1"/>
          </p:nvSpPr>
          <p:spPr bwMode="auto">
            <a:xfrm>
              <a:off x="26066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9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9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9" name="Freeform 16"/>
            <p:cNvSpPr>
              <a:spLocks/>
            </p:cNvSpPr>
            <p:nvPr userDrawn="1"/>
          </p:nvSpPr>
          <p:spPr bwMode="auto">
            <a:xfrm>
              <a:off x="8718550" y="4105275"/>
              <a:ext cx="546100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0" name="Freeform 17"/>
            <p:cNvSpPr>
              <a:spLocks noEditPoints="1"/>
            </p:cNvSpPr>
            <p:nvPr userDrawn="1"/>
          </p:nvSpPr>
          <p:spPr bwMode="auto">
            <a:xfrm>
              <a:off x="4465638" y="3841750"/>
              <a:ext cx="438150" cy="1092200"/>
            </a:xfrm>
            <a:custGeom>
              <a:avLst/>
              <a:gdLst>
                <a:gd name="T0" fmla="*/ 69 w 138"/>
                <a:gd name="T1" fmla="*/ 14 h 343"/>
                <a:gd name="T2" fmla="*/ 124 w 138"/>
                <a:gd name="T3" fmla="*/ 69 h 343"/>
                <a:gd name="T4" fmla="*/ 124 w 138"/>
                <a:gd name="T5" fmla="*/ 275 h 343"/>
                <a:gd name="T6" fmla="*/ 69 w 138"/>
                <a:gd name="T7" fmla="*/ 330 h 343"/>
                <a:gd name="T8" fmla="*/ 14 w 138"/>
                <a:gd name="T9" fmla="*/ 275 h 343"/>
                <a:gd name="T10" fmla="*/ 14 w 138"/>
                <a:gd name="T11" fmla="*/ 69 h 343"/>
                <a:gd name="T12" fmla="*/ 69 w 138"/>
                <a:gd name="T13" fmla="*/ 14 h 343"/>
                <a:gd name="T14" fmla="*/ 69 w 138"/>
                <a:gd name="T15" fmla="*/ 0 h 343"/>
                <a:gd name="T16" fmla="*/ 0 w 138"/>
                <a:gd name="T17" fmla="*/ 69 h 343"/>
                <a:gd name="T18" fmla="*/ 0 w 138"/>
                <a:gd name="T19" fmla="*/ 275 h 343"/>
                <a:gd name="T20" fmla="*/ 69 w 138"/>
                <a:gd name="T21" fmla="*/ 343 h 343"/>
                <a:gd name="T22" fmla="*/ 138 w 138"/>
                <a:gd name="T23" fmla="*/ 275 h 343"/>
                <a:gd name="T24" fmla="*/ 138 w 138"/>
                <a:gd name="T25" fmla="*/ 69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4"/>
                  </a:moveTo>
                  <a:cubicBezTo>
                    <a:pt x="99" y="14"/>
                    <a:pt x="124" y="39"/>
                    <a:pt x="124" y="69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24" y="305"/>
                    <a:pt x="99" y="330"/>
                    <a:pt x="69" y="330"/>
                  </a:cubicBezTo>
                  <a:cubicBezTo>
                    <a:pt x="39" y="330"/>
                    <a:pt x="14" y="305"/>
                    <a:pt x="14" y="275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39"/>
                    <a:pt x="39" y="14"/>
                    <a:pt x="69" y="14"/>
                  </a:cubicBezTo>
                  <a:moveTo>
                    <a:pt x="69" y="0"/>
                  </a:moveTo>
                  <a:cubicBezTo>
                    <a:pt x="31" y="0"/>
                    <a:pt x="0" y="31"/>
                    <a:pt x="0" y="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313"/>
                    <a:pt x="31" y="343"/>
                    <a:pt x="69" y="343"/>
                  </a:cubicBezTo>
                  <a:cubicBezTo>
                    <a:pt x="107" y="343"/>
                    <a:pt x="138" y="313"/>
                    <a:pt x="138" y="275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1" name="Freeform 18"/>
            <p:cNvSpPr>
              <a:spLocks/>
            </p:cNvSpPr>
            <p:nvPr userDrawn="1"/>
          </p:nvSpPr>
          <p:spPr bwMode="auto">
            <a:xfrm>
              <a:off x="7259638" y="4475163"/>
              <a:ext cx="260350" cy="436563"/>
            </a:xfrm>
            <a:custGeom>
              <a:avLst/>
              <a:gdLst>
                <a:gd name="T0" fmla="*/ 41 w 82"/>
                <a:gd name="T1" fmla="*/ 137 h 137"/>
                <a:gd name="T2" fmla="*/ 41 w 82"/>
                <a:gd name="T3" fmla="*/ 137 h 137"/>
                <a:gd name="T4" fmla="*/ 0 w 82"/>
                <a:gd name="T5" fmla="*/ 96 h 137"/>
                <a:gd name="T6" fmla="*/ 0 w 82"/>
                <a:gd name="T7" fmla="*/ 41 h 137"/>
                <a:gd name="T8" fmla="*/ 41 w 82"/>
                <a:gd name="T9" fmla="*/ 0 h 137"/>
                <a:gd name="T10" fmla="*/ 82 w 82"/>
                <a:gd name="T11" fmla="*/ 41 h 137"/>
                <a:gd name="T12" fmla="*/ 82 w 82"/>
                <a:gd name="T13" fmla="*/ 96 h 137"/>
                <a:gd name="T14" fmla="*/ 41 w 82"/>
                <a:gd name="T15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7">
                  <a:moveTo>
                    <a:pt x="41" y="137"/>
                  </a:moveTo>
                  <a:cubicBezTo>
                    <a:pt x="41" y="137"/>
                    <a:pt x="41" y="137"/>
                    <a:pt x="41" y="137"/>
                  </a:cubicBezTo>
                  <a:cubicBezTo>
                    <a:pt x="18" y="137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7"/>
                    <a:pt x="41" y="1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2" name="Freeform 19"/>
            <p:cNvSpPr>
              <a:spLocks noEditPoints="1"/>
            </p:cNvSpPr>
            <p:nvPr userDrawn="1"/>
          </p:nvSpPr>
          <p:spPr bwMode="auto">
            <a:xfrm>
              <a:off x="4030663" y="4475163"/>
              <a:ext cx="260350" cy="436563"/>
            </a:xfrm>
            <a:custGeom>
              <a:avLst/>
              <a:gdLst>
                <a:gd name="T0" fmla="*/ 41 w 82"/>
                <a:gd name="T1" fmla="*/ 14 h 137"/>
                <a:gd name="T2" fmla="*/ 69 w 82"/>
                <a:gd name="T3" fmla="*/ 41 h 137"/>
                <a:gd name="T4" fmla="*/ 69 w 82"/>
                <a:gd name="T5" fmla="*/ 96 h 137"/>
                <a:gd name="T6" fmla="*/ 41 w 82"/>
                <a:gd name="T7" fmla="*/ 124 h 137"/>
                <a:gd name="T8" fmla="*/ 14 w 82"/>
                <a:gd name="T9" fmla="*/ 96 h 137"/>
                <a:gd name="T10" fmla="*/ 14 w 82"/>
                <a:gd name="T11" fmla="*/ 41 h 137"/>
                <a:gd name="T12" fmla="*/ 41 w 82"/>
                <a:gd name="T13" fmla="*/ 14 h 137"/>
                <a:gd name="T14" fmla="*/ 41 w 82"/>
                <a:gd name="T15" fmla="*/ 0 h 137"/>
                <a:gd name="T16" fmla="*/ 0 w 82"/>
                <a:gd name="T17" fmla="*/ 41 h 137"/>
                <a:gd name="T18" fmla="*/ 0 w 82"/>
                <a:gd name="T19" fmla="*/ 96 h 137"/>
                <a:gd name="T20" fmla="*/ 41 w 82"/>
                <a:gd name="T21" fmla="*/ 137 h 137"/>
                <a:gd name="T22" fmla="*/ 82 w 82"/>
                <a:gd name="T23" fmla="*/ 96 h 137"/>
                <a:gd name="T24" fmla="*/ 82 w 82"/>
                <a:gd name="T25" fmla="*/ 41 h 137"/>
                <a:gd name="T26" fmla="*/ 41 w 82"/>
                <a:gd name="T2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137">
                  <a:moveTo>
                    <a:pt x="41" y="14"/>
                  </a:moveTo>
                  <a:cubicBezTo>
                    <a:pt x="56" y="14"/>
                    <a:pt x="69" y="26"/>
                    <a:pt x="69" y="41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69" y="112"/>
                    <a:pt x="56" y="124"/>
                    <a:pt x="41" y="124"/>
                  </a:cubicBezTo>
                  <a:cubicBezTo>
                    <a:pt x="26" y="124"/>
                    <a:pt x="14" y="112"/>
                    <a:pt x="14" y="96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26"/>
                    <a:pt x="26" y="14"/>
                    <a:pt x="41" y="14"/>
                  </a:cubicBezTo>
                  <a:moveTo>
                    <a:pt x="41" y="0"/>
                  </a:moveTo>
                  <a:cubicBezTo>
                    <a:pt x="19" y="0"/>
                    <a:pt x="0" y="19"/>
                    <a:pt x="0" y="4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19"/>
                    <a:pt x="19" y="137"/>
                    <a:pt x="41" y="137"/>
                  </a:cubicBezTo>
                  <a:cubicBezTo>
                    <a:pt x="64" y="137"/>
                    <a:pt x="82" y="119"/>
                    <a:pt x="82" y="96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19"/>
                    <a:pt x="64" y="0"/>
                    <a:pt x="4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3" name="Freeform 20"/>
            <p:cNvSpPr>
              <a:spLocks/>
            </p:cNvSpPr>
            <p:nvPr userDrawn="1"/>
          </p:nvSpPr>
          <p:spPr bwMode="auto">
            <a:xfrm>
              <a:off x="6648450" y="4452938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8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4" name="Freeform 21"/>
            <p:cNvSpPr>
              <a:spLocks/>
            </p:cNvSpPr>
            <p:nvPr userDrawn="1"/>
          </p:nvSpPr>
          <p:spPr bwMode="auto">
            <a:xfrm>
              <a:off x="5119688" y="2990850"/>
              <a:ext cx="547688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5" name="Freeform 22"/>
            <p:cNvSpPr>
              <a:spLocks/>
            </p:cNvSpPr>
            <p:nvPr userDrawn="1"/>
          </p:nvSpPr>
          <p:spPr bwMode="auto">
            <a:xfrm>
              <a:off x="5886450" y="3952875"/>
              <a:ext cx="542925" cy="2444750"/>
            </a:xfrm>
            <a:custGeom>
              <a:avLst/>
              <a:gdLst>
                <a:gd name="T0" fmla="*/ 85 w 171"/>
                <a:gd name="T1" fmla="*/ 768 h 768"/>
                <a:gd name="T2" fmla="*/ 85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5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5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5" y="768"/>
                  </a:moveTo>
                  <a:cubicBezTo>
                    <a:pt x="85" y="768"/>
                    <a:pt x="85" y="768"/>
                    <a:pt x="85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5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6" name="Freeform 23"/>
            <p:cNvSpPr>
              <a:spLocks/>
            </p:cNvSpPr>
            <p:nvPr userDrawn="1"/>
          </p:nvSpPr>
          <p:spPr bwMode="auto">
            <a:xfrm>
              <a:off x="3790950" y="4716463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4 h 343"/>
                <a:gd name="T6" fmla="*/ 0 w 137"/>
                <a:gd name="T7" fmla="*/ 68 h 343"/>
                <a:gd name="T8" fmla="*/ 68 w 137"/>
                <a:gd name="T9" fmla="*/ 0 h 343"/>
                <a:gd name="T10" fmla="*/ 137 w 137"/>
                <a:gd name="T11" fmla="*/ 68 h 343"/>
                <a:gd name="T12" fmla="*/ 137 w 137"/>
                <a:gd name="T13" fmla="*/ 274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2"/>
                    <a:pt x="0" y="27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0"/>
                    <a:pt x="30" y="0"/>
                    <a:pt x="68" y="0"/>
                  </a:cubicBezTo>
                  <a:cubicBezTo>
                    <a:pt x="106" y="0"/>
                    <a:pt x="137" y="30"/>
                    <a:pt x="137" y="68"/>
                  </a:cubicBezTo>
                  <a:cubicBezTo>
                    <a:pt x="137" y="274"/>
                    <a:pt x="137" y="274"/>
                    <a:pt x="137" y="274"/>
                  </a:cubicBezTo>
                  <a:cubicBezTo>
                    <a:pt x="137" y="312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7" name="Freeform 24"/>
            <p:cNvSpPr>
              <a:spLocks/>
            </p:cNvSpPr>
            <p:nvPr userDrawn="1"/>
          </p:nvSpPr>
          <p:spPr bwMode="auto">
            <a:xfrm>
              <a:off x="3028950" y="3841750"/>
              <a:ext cx="542925" cy="2447925"/>
            </a:xfrm>
            <a:custGeom>
              <a:avLst/>
              <a:gdLst>
                <a:gd name="T0" fmla="*/ 85 w 171"/>
                <a:gd name="T1" fmla="*/ 769 h 769"/>
                <a:gd name="T2" fmla="*/ 85 w 171"/>
                <a:gd name="T3" fmla="*/ 769 h 769"/>
                <a:gd name="T4" fmla="*/ 0 w 171"/>
                <a:gd name="T5" fmla="*/ 683 h 769"/>
                <a:gd name="T6" fmla="*/ 0 w 171"/>
                <a:gd name="T7" fmla="*/ 86 h 769"/>
                <a:gd name="T8" fmla="*/ 85 w 171"/>
                <a:gd name="T9" fmla="*/ 0 h 769"/>
                <a:gd name="T10" fmla="*/ 171 w 171"/>
                <a:gd name="T11" fmla="*/ 86 h 769"/>
                <a:gd name="T12" fmla="*/ 171 w 171"/>
                <a:gd name="T13" fmla="*/ 683 h 769"/>
                <a:gd name="T14" fmla="*/ 85 w 171"/>
                <a:gd name="T15" fmla="*/ 769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9">
                  <a:moveTo>
                    <a:pt x="85" y="769"/>
                  </a:moveTo>
                  <a:cubicBezTo>
                    <a:pt x="85" y="769"/>
                    <a:pt x="85" y="769"/>
                    <a:pt x="85" y="769"/>
                  </a:cubicBezTo>
                  <a:cubicBezTo>
                    <a:pt x="38" y="769"/>
                    <a:pt x="0" y="730"/>
                    <a:pt x="0" y="6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3" y="0"/>
                    <a:pt x="171" y="39"/>
                    <a:pt x="171" y="86"/>
                  </a:cubicBezTo>
                  <a:cubicBezTo>
                    <a:pt x="171" y="683"/>
                    <a:pt x="171" y="683"/>
                    <a:pt x="171" y="683"/>
                  </a:cubicBezTo>
                  <a:cubicBezTo>
                    <a:pt x="171" y="730"/>
                    <a:pt x="133" y="769"/>
                    <a:pt x="85" y="76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8" name="Freeform 25"/>
            <p:cNvSpPr>
              <a:spLocks/>
            </p:cNvSpPr>
            <p:nvPr userDrawn="1"/>
          </p:nvSpPr>
          <p:spPr bwMode="auto">
            <a:xfrm>
              <a:off x="0" y="3148013"/>
              <a:ext cx="228600" cy="2438400"/>
            </a:xfrm>
            <a:custGeom>
              <a:avLst/>
              <a:gdLst>
                <a:gd name="T0" fmla="*/ 0 w 72"/>
                <a:gd name="T1" fmla="*/ 0 h 766"/>
                <a:gd name="T2" fmla="*/ 0 w 72"/>
                <a:gd name="T3" fmla="*/ 766 h 766"/>
                <a:gd name="T4" fmla="*/ 72 w 72"/>
                <a:gd name="T5" fmla="*/ 681 h 766"/>
                <a:gd name="T6" fmla="*/ 72 w 72"/>
                <a:gd name="T7" fmla="*/ 84 h 766"/>
                <a:gd name="T8" fmla="*/ 0 w 72"/>
                <a:gd name="T9" fmla="*/ 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66">
                  <a:moveTo>
                    <a:pt x="0" y="0"/>
                  </a:moveTo>
                  <a:cubicBezTo>
                    <a:pt x="0" y="766"/>
                    <a:pt x="0" y="766"/>
                    <a:pt x="0" y="766"/>
                  </a:cubicBezTo>
                  <a:cubicBezTo>
                    <a:pt x="41" y="759"/>
                    <a:pt x="72" y="724"/>
                    <a:pt x="72" y="681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42"/>
                    <a:pt x="41" y="6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9" name="Freeform 26"/>
            <p:cNvSpPr>
              <a:spLocks/>
            </p:cNvSpPr>
            <p:nvPr userDrawn="1"/>
          </p:nvSpPr>
          <p:spPr bwMode="auto">
            <a:xfrm>
              <a:off x="11950700" y="4105275"/>
              <a:ext cx="254000" cy="2444750"/>
            </a:xfrm>
            <a:custGeom>
              <a:avLst/>
              <a:gdLst>
                <a:gd name="T0" fmla="*/ 80 w 80"/>
                <a:gd name="T1" fmla="*/ 0 h 768"/>
                <a:gd name="T2" fmla="*/ 0 w 80"/>
                <a:gd name="T3" fmla="*/ 85 h 768"/>
                <a:gd name="T4" fmla="*/ 0 w 80"/>
                <a:gd name="T5" fmla="*/ 682 h 768"/>
                <a:gd name="T6" fmla="*/ 80 w 80"/>
                <a:gd name="T7" fmla="*/ 768 h 768"/>
                <a:gd name="T8" fmla="*/ 80 w 80"/>
                <a:gd name="T9" fmla="*/ 0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768">
                  <a:moveTo>
                    <a:pt x="80" y="0"/>
                  </a:moveTo>
                  <a:cubicBezTo>
                    <a:pt x="36" y="2"/>
                    <a:pt x="0" y="39"/>
                    <a:pt x="0" y="85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728"/>
                    <a:pt x="36" y="766"/>
                    <a:pt x="80" y="768"/>
                  </a:cubicBez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31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32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693234356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0E29782-9344-48E9-BA59-745DEA608E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0E29782-9344-48E9-BA59-745DEA608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 or use as pink slid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9201"/>
            <a:ext cx="7200000" cy="748800"/>
          </a:xfrm>
        </p:spPr>
        <p:txBody>
          <a:bodyPr vert="horz">
            <a:noAutofit/>
          </a:bodyPr>
          <a:lstStyle>
            <a:lvl1pPr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0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19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20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2234448027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4ED41B-56CC-40E3-8C15-ED52415C3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74ED41B-56CC-40E3-8C15-ED52415C3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 userDrawn="1"/>
        </p:nvSpPr>
        <p:spPr>
          <a:xfrm>
            <a:off x="0" y="939600"/>
            <a:ext cx="12193200" cy="38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4783756"/>
            <a:ext cx="7200000" cy="626850"/>
          </a:xfrm>
        </p:spPr>
        <p:txBody>
          <a:bodyPr vert="horz">
            <a:noAutofit/>
          </a:bodyPr>
          <a:lstStyle>
            <a:lvl1pPr>
              <a:defRPr sz="23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5436001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5914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6166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939600"/>
            <a:ext cx="12204000" cy="3816350"/>
          </a:xfrm>
          <a:noFill/>
        </p:spPr>
        <p:txBody>
          <a:bodyPr anchor="ctr" anchorCtr="0"/>
          <a:lstStyle>
            <a:lvl1pPr marL="0" marR="0" indent="0" algn="ctr" defTabSz="108866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3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28" name="Logotype"/>
          <p:cNvGrpSpPr/>
          <p:nvPr userDrawn="1"/>
        </p:nvGrpSpPr>
        <p:grpSpPr>
          <a:xfrm>
            <a:off x="5371675" y="298073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9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0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1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2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3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4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2939230974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Pink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98F5776-DCF7-42E0-A50E-57F9866A42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98F5776-DCF7-42E0-A50E-57F9866A42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12193200" cy="6859588"/>
          </a:xfrm>
          <a:prstGeom prst="rect">
            <a:avLst/>
          </a:prstGeom>
          <a:solidFill>
            <a:srgbClr val="FDEC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sp>
        <p:nvSpPr>
          <p:cNvPr id="4" name="Rectangle 3"/>
          <p:cNvSpPr/>
          <p:nvPr userDrawn="1"/>
        </p:nvSpPr>
        <p:spPr>
          <a:xfrm>
            <a:off x="0" y="939600"/>
            <a:ext cx="12193200" cy="38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940414"/>
            <a:ext cx="12204000" cy="3816350"/>
          </a:xfrm>
          <a:noFill/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4775994"/>
            <a:ext cx="7200000" cy="634612"/>
          </a:xfrm>
        </p:spPr>
        <p:txBody>
          <a:bodyPr vert="horz">
            <a:noAutofit/>
          </a:bodyPr>
          <a:lstStyle>
            <a:lvl1pPr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5436001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5914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6166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3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33" name="Logotype"/>
          <p:cNvGrpSpPr/>
          <p:nvPr userDrawn="1"/>
        </p:nvGrpSpPr>
        <p:grpSpPr>
          <a:xfrm>
            <a:off x="5371675" y="298073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34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5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7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8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33615719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EEFCC13-8B1A-4F82-BD77-9D33BEC25F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EEFCC13-8B1A-4F82-BD77-9D33BEC25F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18" y="1089027"/>
            <a:ext cx="8402188" cy="999458"/>
          </a:xfrm>
        </p:spPr>
        <p:txBody>
          <a:bodyPr vert="horz" anchor="b" anchorCtr="0">
            <a:noAutofit/>
          </a:bodyPr>
          <a:lstStyle>
            <a:lvl1pPr algn="ctr">
              <a:defRPr sz="2900" b="1" cap="none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18" y="2160500"/>
            <a:ext cx="8402188" cy="720167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1899" b="1">
                <a:solidFill>
                  <a:schemeClr val="accent2"/>
                </a:solidFill>
              </a:defRPr>
            </a:lvl1pPr>
            <a:lvl2pPr marL="544334" indent="0">
              <a:buNone/>
              <a:defRPr sz="2099">
                <a:solidFill>
                  <a:schemeClr val="tx1">
                    <a:tint val="75000"/>
                  </a:schemeClr>
                </a:solidFill>
              </a:defRPr>
            </a:lvl2pPr>
            <a:lvl3pPr marL="1088667" indent="0">
              <a:buNone/>
              <a:defRPr sz="1899">
                <a:solidFill>
                  <a:schemeClr val="tx1">
                    <a:tint val="75000"/>
                  </a:schemeClr>
                </a:solidFill>
              </a:defRPr>
            </a:lvl3pPr>
            <a:lvl4pPr marL="1633001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4pPr>
            <a:lvl5pPr marL="2177334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5pPr>
            <a:lvl6pPr marL="2721667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6pPr>
            <a:lvl7pPr marL="3266001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7pPr>
            <a:lvl8pPr marL="3810335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8pPr>
            <a:lvl9pPr marL="4354668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11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</p:spTree>
    <p:extLst>
      <p:ext uri="{BB962C8B-B14F-4D97-AF65-F5344CB8AC3E}">
        <p14:creationId xmlns:p14="http://schemas.microsoft.com/office/powerpoint/2010/main" val="3427838520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Pulse Pattern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F2A8E87-1C5F-40F4-B2AE-214A3B4C4A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F2A8E87-1C5F-40F4-B2AE-214A3B4C4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53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</p:spPr>
        <p:txBody>
          <a:bodyPr anchor="ctr" anchorCtr="0"/>
          <a:lstStyle>
            <a:lvl1pPr marL="0" marR="0" indent="0" algn="ctr" defTabSz="108866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 or use as pink sli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18" y="1090800"/>
            <a:ext cx="8402188" cy="1000800"/>
          </a:xfrm>
        </p:spPr>
        <p:txBody>
          <a:bodyPr vert="horz" anchor="b" anchorCtr="0">
            <a:noAutofit/>
          </a:bodyPr>
          <a:lstStyle>
            <a:lvl1pPr algn="ctr">
              <a:defRPr sz="2900" b="1" cap="none" baseline="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18" y="2160500"/>
            <a:ext cx="8402188" cy="720167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1899" b="1">
                <a:solidFill>
                  <a:schemeClr val="tx2"/>
                </a:solidFill>
              </a:defRPr>
            </a:lvl1pPr>
            <a:lvl2pPr marL="544334" indent="0">
              <a:buNone/>
              <a:defRPr sz="2099">
                <a:solidFill>
                  <a:schemeClr val="tx1">
                    <a:tint val="75000"/>
                  </a:schemeClr>
                </a:solidFill>
              </a:defRPr>
            </a:lvl2pPr>
            <a:lvl3pPr marL="1088667" indent="0">
              <a:buNone/>
              <a:defRPr sz="1899">
                <a:solidFill>
                  <a:schemeClr val="tx1">
                    <a:tint val="75000"/>
                  </a:schemeClr>
                </a:solidFill>
              </a:defRPr>
            </a:lvl3pPr>
            <a:lvl4pPr marL="1633001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4pPr>
            <a:lvl5pPr marL="2177334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5pPr>
            <a:lvl6pPr marL="2721667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6pPr>
            <a:lvl7pPr marL="3266001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7pPr>
            <a:lvl8pPr marL="3810335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8pPr>
            <a:lvl9pPr marL="4354668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8" name="Pulse"/>
          <p:cNvGrpSpPr/>
          <p:nvPr userDrawn="1"/>
        </p:nvGrpSpPr>
        <p:grpSpPr>
          <a:xfrm>
            <a:off x="1" y="2990851"/>
            <a:ext cx="12204000" cy="3559175"/>
            <a:chOff x="0" y="2990850"/>
            <a:chExt cx="12204700" cy="3559175"/>
          </a:xfrm>
          <a:solidFill>
            <a:srgbClr val="0000A0"/>
          </a:solidFill>
        </p:grpSpPr>
        <p:sp>
          <p:nvSpPr>
            <p:cNvPr id="29" name="Freeform 5"/>
            <p:cNvSpPr>
              <a:spLocks/>
            </p:cNvSpPr>
            <p:nvPr userDrawn="1"/>
          </p:nvSpPr>
          <p:spPr bwMode="auto">
            <a:xfrm>
              <a:off x="182086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9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4" name="Freeform 6"/>
            <p:cNvSpPr>
              <a:spLocks/>
            </p:cNvSpPr>
            <p:nvPr userDrawn="1"/>
          </p:nvSpPr>
          <p:spPr bwMode="auto">
            <a:xfrm>
              <a:off x="1211263" y="4605338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5" name="Freeform 7"/>
            <p:cNvSpPr>
              <a:spLocks/>
            </p:cNvSpPr>
            <p:nvPr userDrawn="1"/>
          </p:nvSpPr>
          <p:spPr bwMode="auto">
            <a:xfrm>
              <a:off x="447675" y="4105275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6" name="Freeform 8"/>
            <p:cNvSpPr>
              <a:spLocks/>
            </p:cNvSpPr>
            <p:nvPr userDrawn="1"/>
          </p:nvSpPr>
          <p:spPr bwMode="auto">
            <a:xfrm>
              <a:off x="10529888" y="3994150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7" name="Freeform 9"/>
            <p:cNvSpPr>
              <a:spLocks/>
            </p:cNvSpPr>
            <p:nvPr userDrawn="1"/>
          </p:nvSpPr>
          <p:spPr bwMode="auto">
            <a:xfrm>
              <a:off x="1009491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8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3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8" name="Freeform 10"/>
            <p:cNvSpPr>
              <a:spLocks/>
            </p:cNvSpPr>
            <p:nvPr userDrawn="1"/>
          </p:nvSpPr>
          <p:spPr bwMode="auto">
            <a:xfrm>
              <a:off x="11183938" y="3144838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9" name="Freeform 11"/>
            <p:cNvSpPr>
              <a:spLocks noEditPoints="1"/>
            </p:cNvSpPr>
            <p:nvPr userDrawn="1"/>
          </p:nvSpPr>
          <p:spPr bwMode="auto">
            <a:xfrm>
              <a:off x="7742238" y="4083050"/>
              <a:ext cx="434975" cy="1092200"/>
            </a:xfrm>
            <a:custGeom>
              <a:avLst/>
              <a:gdLst>
                <a:gd name="T0" fmla="*/ 69 w 137"/>
                <a:gd name="T1" fmla="*/ 13 h 343"/>
                <a:gd name="T2" fmla="*/ 124 w 137"/>
                <a:gd name="T3" fmla="*/ 68 h 343"/>
                <a:gd name="T4" fmla="*/ 124 w 137"/>
                <a:gd name="T5" fmla="*/ 274 h 343"/>
                <a:gd name="T6" fmla="*/ 69 w 137"/>
                <a:gd name="T7" fmla="*/ 329 h 343"/>
                <a:gd name="T8" fmla="*/ 14 w 137"/>
                <a:gd name="T9" fmla="*/ 274 h 343"/>
                <a:gd name="T10" fmla="*/ 14 w 137"/>
                <a:gd name="T11" fmla="*/ 68 h 343"/>
                <a:gd name="T12" fmla="*/ 69 w 137"/>
                <a:gd name="T13" fmla="*/ 13 h 343"/>
                <a:gd name="T14" fmla="*/ 69 w 137"/>
                <a:gd name="T15" fmla="*/ 0 h 343"/>
                <a:gd name="T16" fmla="*/ 69 w 137"/>
                <a:gd name="T17" fmla="*/ 0 h 343"/>
                <a:gd name="T18" fmla="*/ 0 w 137"/>
                <a:gd name="T19" fmla="*/ 68 h 343"/>
                <a:gd name="T20" fmla="*/ 0 w 137"/>
                <a:gd name="T21" fmla="*/ 274 h 343"/>
                <a:gd name="T22" fmla="*/ 69 w 137"/>
                <a:gd name="T23" fmla="*/ 343 h 343"/>
                <a:gd name="T24" fmla="*/ 137 w 137"/>
                <a:gd name="T25" fmla="*/ 274 h 343"/>
                <a:gd name="T26" fmla="*/ 137 w 137"/>
                <a:gd name="T27" fmla="*/ 68 h 343"/>
                <a:gd name="T28" fmla="*/ 69 w 137"/>
                <a:gd name="T29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7" y="312"/>
                    <a:pt x="137" y="274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0" name="Freeform 12"/>
            <p:cNvSpPr>
              <a:spLocks/>
            </p:cNvSpPr>
            <p:nvPr userDrawn="1"/>
          </p:nvSpPr>
          <p:spPr bwMode="auto">
            <a:xfrm>
              <a:off x="9480550" y="4605338"/>
              <a:ext cx="439738" cy="1092200"/>
            </a:xfrm>
            <a:custGeom>
              <a:avLst/>
              <a:gdLst>
                <a:gd name="T0" fmla="*/ 69 w 138"/>
                <a:gd name="T1" fmla="*/ 343 h 343"/>
                <a:gd name="T2" fmla="*/ 69 w 138"/>
                <a:gd name="T3" fmla="*/ 343 h 343"/>
                <a:gd name="T4" fmla="*/ 0 w 138"/>
                <a:gd name="T5" fmla="*/ 275 h 343"/>
                <a:gd name="T6" fmla="*/ 0 w 138"/>
                <a:gd name="T7" fmla="*/ 69 h 343"/>
                <a:gd name="T8" fmla="*/ 69 w 138"/>
                <a:gd name="T9" fmla="*/ 0 h 343"/>
                <a:gd name="T10" fmla="*/ 138 w 138"/>
                <a:gd name="T11" fmla="*/ 69 h 343"/>
                <a:gd name="T12" fmla="*/ 138 w 138"/>
                <a:gd name="T13" fmla="*/ 275 h 343"/>
                <a:gd name="T14" fmla="*/ 69 w 138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8" y="31"/>
                    <a:pt x="138" y="69"/>
                  </a:cubicBezTo>
                  <a:cubicBezTo>
                    <a:pt x="138" y="275"/>
                    <a:pt x="138" y="275"/>
                    <a:pt x="138" y="275"/>
                  </a:cubicBezTo>
                  <a:cubicBezTo>
                    <a:pt x="138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1" name="Freeform 13"/>
            <p:cNvSpPr>
              <a:spLocks noEditPoints="1"/>
            </p:cNvSpPr>
            <p:nvPr userDrawn="1"/>
          </p:nvSpPr>
          <p:spPr bwMode="auto">
            <a:xfrm>
              <a:off x="83978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8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8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2" name="Freeform 14"/>
            <p:cNvSpPr>
              <a:spLocks noEditPoints="1"/>
            </p:cNvSpPr>
            <p:nvPr userDrawn="1"/>
          </p:nvSpPr>
          <p:spPr bwMode="auto">
            <a:xfrm>
              <a:off x="1951038" y="4083050"/>
              <a:ext cx="439738" cy="1092200"/>
            </a:xfrm>
            <a:custGeom>
              <a:avLst/>
              <a:gdLst>
                <a:gd name="T0" fmla="*/ 69 w 138"/>
                <a:gd name="T1" fmla="*/ 13 h 343"/>
                <a:gd name="T2" fmla="*/ 124 w 138"/>
                <a:gd name="T3" fmla="*/ 68 h 343"/>
                <a:gd name="T4" fmla="*/ 124 w 138"/>
                <a:gd name="T5" fmla="*/ 274 h 343"/>
                <a:gd name="T6" fmla="*/ 69 w 138"/>
                <a:gd name="T7" fmla="*/ 329 h 343"/>
                <a:gd name="T8" fmla="*/ 14 w 138"/>
                <a:gd name="T9" fmla="*/ 274 h 343"/>
                <a:gd name="T10" fmla="*/ 14 w 138"/>
                <a:gd name="T11" fmla="*/ 68 h 343"/>
                <a:gd name="T12" fmla="*/ 69 w 138"/>
                <a:gd name="T13" fmla="*/ 13 h 343"/>
                <a:gd name="T14" fmla="*/ 69 w 138"/>
                <a:gd name="T15" fmla="*/ 0 h 343"/>
                <a:gd name="T16" fmla="*/ 0 w 138"/>
                <a:gd name="T17" fmla="*/ 68 h 343"/>
                <a:gd name="T18" fmla="*/ 0 w 138"/>
                <a:gd name="T19" fmla="*/ 274 h 343"/>
                <a:gd name="T20" fmla="*/ 69 w 138"/>
                <a:gd name="T21" fmla="*/ 343 h 343"/>
                <a:gd name="T22" fmla="*/ 138 w 138"/>
                <a:gd name="T23" fmla="*/ 274 h 343"/>
                <a:gd name="T24" fmla="*/ 138 w 138"/>
                <a:gd name="T25" fmla="*/ 68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8" y="312"/>
                    <a:pt x="138" y="274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3" name="Freeform 15"/>
            <p:cNvSpPr>
              <a:spLocks noEditPoints="1"/>
            </p:cNvSpPr>
            <p:nvPr userDrawn="1"/>
          </p:nvSpPr>
          <p:spPr bwMode="auto">
            <a:xfrm>
              <a:off x="26066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9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9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4" name="Freeform 16"/>
            <p:cNvSpPr>
              <a:spLocks/>
            </p:cNvSpPr>
            <p:nvPr userDrawn="1"/>
          </p:nvSpPr>
          <p:spPr bwMode="auto">
            <a:xfrm>
              <a:off x="8718550" y="4105275"/>
              <a:ext cx="546100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5" name="Freeform 17"/>
            <p:cNvSpPr>
              <a:spLocks noEditPoints="1"/>
            </p:cNvSpPr>
            <p:nvPr userDrawn="1"/>
          </p:nvSpPr>
          <p:spPr bwMode="auto">
            <a:xfrm>
              <a:off x="4465638" y="3841750"/>
              <a:ext cx="438150" cy="1092200"/>
            </a:xfrm>
            <a:custGeom>
              <a:avLst/>
              <a:gdLst>
                <a:gd name="T0" fmla="*/ 69 w 138"/>
                <a:gd name="T1" fmla="*/ 14 h 343"/>
                <a:gd name="T2" fmla="*/ 124 w 138"/>
                <a:gd name="T3" fmla="*/ 69 h 343"/>
                <a:gd name="T4" fmla="*/ 124 w 138"/>
                <a:gd name="T5" fmla="*/ 275 h 343"/>
                <a:gd name="T6" fmla="*/ 69 w 138"/>
                <a:gd name="T7" fmla="*/ 330 h 343"/>
                <a:gd name="T8" fmla="*/ 14 w 138"/>
                <a:gd name="T9" fmla="*/ 275 h 343"/>
                <a:gd name="T10" fmla="*/ 14 w 138"/>
                <a:gd name="T11" fmla="*/ 69 h 343"/>
                <a:gd name="T12" fmla="*/ 69 w 138"/>
                <a:gd name="T13" fmla="*/ 14 h 343"/>
                <a:gd name="T14" fmla="*/ 69 w 138"/>
                <a:gd name="T15" fmla="*/ 0 h 343"/>
                <a:gd name="T16" fmla="*/ 0 w 138"/>
                <a:gd name="T17" fmla="*/ 69 h 343"/>
                <a:gd name="T18" fmla="*/ 0 w 138"/>
                <a:gd name="T19" fmla="*/ 275 h 343"/>
                <a:gd name="T20" fmla="*/ 69 w 138"/>
                <a:gd name="T21" fmla="*/ 343 h 343"/>
                <a:gd name="T22" fmla="*/ 138 w 138"/>
                <a:gd name="T23" fmla="*/ 275 h 343"/>
                <a:gd name="T24" fmla="*/ 138 w 138"/>
                <a:gd name="T25" fmla="*/ 69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4"/>
                  </a:moveTo>
                  <a:cubicBezTo>
                    <a:pt x="99" y="14"/>
                    <a:pt x="124" y="39"/>
                    <a:pt x="124" y="69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24" y="305"/>
                    <a:pt x="99" y="330"/>
                    <a:pt x="69" y="330"/>
                  </a:cubicBezTo>
                  <a:cubicBezTo>
                    <a:pt x="39" y="330"/>
                    <a:pt x="14" y="305"/>
                    <a:pt x="14" y="275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39"/>
                    <a:pt x="39" y="14"/>
                    <a:pt x="69" y="14"/>
                  </a:cubicBezTo>
                  <a:moveTo>
                    <a:pt x="69" y="0"/>
                  </a:moveTo>
                  <a:cubicBezTo>
                    <a:pt x="31" y="0"/>
                    <a:pt x="0" y="31"/>
                    <a:pt x="0" y="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313"/>
                    <a:pt x="31" y="343"/>
                    <a:pt x="69" y="343"/>
                  </a:cubicBezTo>
                  <a:cubicBezTo>
                    <a:pt x="107" y="343"/>
                    <a:pt x="138" y="313"/>
                    <a:pt x="138" y="275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6" name="Freeform 18"/>
            <p:cNvSpPr>
              <a:spLocks/>
            </p:cNvSpPr>
            <p:nvPr userDrawn="1"/>
          </p:nvSpPr>
          <p:spPr bwMode="auto">
            <a:xfrm>
              <a:off x="7259638" y="4475163"/>
              <a:ext cx="260350" cy="436563"/>
            </a:xfrm>
            <a:custGeom>
              <a:avLst/>
              <a:gdLst>
                <a:gd name="T0" fmla="*/ 41 w 82"/>
                <a:gd name="T1" fmla="*/ 137 h 137"/>
                <a:gd name="T2" fmla="*/ 41 w 82"/>
                <a:gd name="T3" fmla="*/ 137 h 137"/>
                <a:gd name="T4" fmla="*/ 0 w 82"/>
                <a:gd name="T5" fmla="*/ 96 h 137"/>
                <a:gd name="T6" fmla="*/ 0 w 82"/>
                <a:gd name="T7" fmla="*/ 41 h 137"/>
                <a:gd name="T8" fmla="*/ 41 w 82"/>
                <a:gd name="T9" fmla="*/ 0 h 137"/>
                <a:gd name="T10" fmla="*/ 82 w 82"/>
                <a:gd name="T11" fmla="*/ 41 h 137"/>
                <a:gd name="T12" fmla="*/ 82 w 82"/>
                <a:gd name="T13" fmla="*/ 96 h 137"/>
                <a:gd name="T14" fmla="*/ 41 w 82"/>
                <a:gd name="T15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7">
                  <a:moveTo>
                    <a:pt x="41" y="137"/>
                  </a:moveTo>
                  <a:cubicBezTo>
                    <a:pt x="41" y="137"/>
                    <a:pt x="41" y="137"/>
                    <a:pt x="41" y="137"/>
                  </a:cubicBezTo>
                  <a:cubicBezTo>
                    <a:pt x="18" y="137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7"/>
                    <a:pt x="41" y="1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7" name="Freeform 19"/>
            <p:cNvSpPr>
              <a:spLocks noEditPoints="1"/>
            </p:cNvSpPr>
            <p:nvPr userDrawn="1"/>
          </p:nvSpPr>
          <p:spPr bwMode="auto">
            <a:xfrm>
              <a:off x="4030663" y="4475163"/>
              <a:ext cx="260350" cy="436563"/>
            </a:xfrm>
            <a:custGeom>
              <a:avLst/>
              <a:gdLst>
                <a:gd name="T0" fmla="*/ 41 w 82"/>
                <a:gd name="T1" fmla="*/ 14 h 137"/>
                <a:gd name="T2" fmla="*/ 69 w 82"/>
                <a:gd name="T3" fmla="*/ 41 h 137"/>
                <a:gd name="T4" fmla="*/ 69 w 82"/>
                <a:gd name="T5" fmla="*/ 96 h 137"/>
                <a:gd name="T6" fmla="*/ 41 w 82"/>
                <a:gd name="T7" fmla="*/ 124 h 137"/>
                <a:gd name="T8" fmla="*/ 14 w 82"/>
                <a:gd name="T9" fmla="*/ 96 h 137"/>
                <a:gd name="T10" fmla="*/ 14 w 82"/>
                <a:gd name="T11" fmla="*/ 41 h 137"/>
                <a:gd name="T12" fmla="*/ 41 w 82"/>
                <a:gd name="T13" fmla="*/ 14 h 137"/>
                <a:gd name="T14" fmla="*/ 41 w 82"/>
                <a:gd name="T15" fmla="*/ 0 h 137"/>
                <a:gd name="T16" fmla="*/ 0 w 82"/>
                <a:gd name="T17" fmla="*/ 41 h 137"/>
                <a:gd name="T18" fmla="*/ 0 w 82"/>
                <a:gd name="T19" fmla="*/ 96 h 137"/>
                <a:gd name="T20" fmla="*/ 41 w 82"/>
                <a:gd name="T21" fmla="*/ 137 h 137"/>
                <a:gd name="T22" fmla="*/ 82 w 82"/>
                <a:gd name="T23" fmla="*/ 96 h 137"/>
                <a:gd name="T24" fmla="*/ 82 w 82"/>
                <a:gd name="T25" fmla="*/ 41 h 137"/>
                <a:gd name="T26" fmla="*/ 41 w 82"/>
                <a:gd name="T2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137">
                  <a:moveTo>
                    <a:pt x="41" y="14"/>
                  </a:moveTo>
                  <a:cubicBezTo>
                    <a:pt x="56" y="14"/>
                    <a:pt x="69" y="26"/>
                    <a:pt x="69" y="41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69" y="112"/>
                    <a:pt x="56" y="124"/>
                    <a:pt x="41" y="124"/>
                  </a:cubicBezTo>
                  <a:cubicBezTo>
                    <a:pt x="26" y="124"/>
                    <a:pt x="14" y="112"/>
                    <a:pt x="14" y="96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26"/>
                    <a:pt x="26" y="14"/>
                    <a:pt x="41" y="14"/>
                  </a:cubicBezTo>
                  <a:moveTo>
                    <a:pt x="41" y="0"/>
                  </a:moveTo>
                  <a:cubicBezTo>
                    <a:pt x="19" y="0"/>
                    <a:pt x="0" y="19"/>
                    <a:pt x="0" y="4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19"/>
                    <a:pt x="19" y="137"/>
                    <a:pt x="41" y="137"/>
                  </a:cubicBezTo>
                  <a:cubicBezTo>
                    <a:pt x="64" y="137"/>
                    <a:pt x="82" y="119"/>
                    <a:pt x="82" y="96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19"/>
                    <a:pt x="64" y="0"/>
                    <a:pt x="4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8" name="Freeform 20"/>
            <p:cNvSpPr>
              <a:spLocks/>
            </p:cNvSpPr>
            <p:nvPr userDrawn="1"/>
          </p:nvSpPr>
          <p:spPr bwMode="auto">
            <a:xfrm>
              <a:off x="6648450" y="4452938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8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9" name="Freeform 21"/>
            <p:cNvSpPr>
              <a:spLocks/>
            </p:cNvSpPr>
            <p:nvPr userDrawn="1"/>
          </p:nvSpPr>
          <p:spPr bwMode="auto">
            <a:xfrm>
              <a:off x="5119688" y="2990850"/>
              <a:ext cx="547688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0" name="Freeform 22"/>
            <p:cNvSpPr>
              <a:spLocks/>
            </p:cNvSpPr>
            <p:nvPr userDrawn="1"/>
          </p:nvSpPr>
          <p:spPr bwMode="auto">
            <a:xfrm>
              <a:off x="5886450" y="3952875"/>
              <a:ext cx="542925" cy="2444750"/>
            </a:xfrm>
            <a:custGeom>
              <a:avLst/>
              <a:gdLst>
                <a:gd name="T0" fmla="*/ 85 w 171"/>
                <a:gd name="T1" fmla="*/ 768 h 768"/>
                <a:gd name="T2" fmla="*/ 85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5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5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5" y="768"/>
                  </a:moveTo>
                  <a:cubicBezTo>
                    <a:pt x="85" y="768"/>
                    <a:pt x="85" y="768"/>
                    <a:pt x="85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5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1" name="Freeform 23"/>
            <p:cNvSpPr>
              <a:spLocks/>
            </p:cNvSpPr>
            <p:nvPr userDrawn="1"/>
          </p:nvSpPr>
          <p:spPr bwMode="auto">
            <a:xfrm>
              <a:off x="3790950" y="4716463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4 h 343"/>
                <a:gd name="T6" fmla="*/ 0 w 137"/>
                <a:gd name="T7" fmla="*/ 68 h 343"/>
                <a:gd name="T8" fmla="*/ 68 w 137"/>
                <a:gd name="T9" fmla="*/ 0 h 343"/>
                <a:gd name="T10" fmla="*/ 137 w 137"/>
                <a:gd name="T11" fmla="*/ 68 h 343"/>
                <a:gd name="T12" fmla="*/ 137 w 137"/>
                <a:gd name="T13" fmla="*/ 274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2"/>
                    <a:pt x="0" y="27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0"/>
                    <a:pt x="30" y="0"/>
                    <a:pt x="68" y="0"/>
                  </a:cubicBezTo>
                  <a:cubicBezTo>
                    <a:pt x="106" y="0"/>
                    <a:pt x="137" y="30"/>
                    <a:pt x="137" y="68"/>
                  </a:cubicBezTo>
                  <a:cubicBezTo>
                    <a:pt x="137" y="274"/>
                    <a:pt x="137" y="274"/>
                    <a:pt x="137" y="274"/>
                  </a:cubicBezTo>
                  <a:cubicBezTo>
                    <a:pt x="137" y="312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2" name="Freeform 24"/>
            <p:cNvSpPr>
              <a:spLocks/>
            </p:cNvSpPr>
            <p:nvPr userDrawn="1"/>
          </p:nvSpPr>
          <p:spPr bwMode="auto">
            <a:xfrm>
              <a:off x="3028950" y="3841750"/>
              <a:ext cx="542925" cy="2447925"/>
            </a:xfrm>
            <a:custGeom>
              <a:avLst/>
              <a:gdLst>
                <a:gd name="T0" fmla="*/ 85 w 171"/>
                <a:gd name="T1" fmla="*/ 769 h 769"/>
                <a:gd name="T2" fmla="*/ 85 w 171"/>
                <a:gd name="T3" fmla="*/ 769 h 769"/>
                <a:gd name="T4" fmla="*/ 0 w 171"/>
                <a:gd name="T5" fmla="*/ 683 h 769"/>
                <a:gd name="T6" fmla="*/ 0 w 171"/>
                <a:gd name="T7" fmla="*/ 86 h 769"/>
                <a:gd name="T8" fmla="*/ 85 w 171"/>
                <a:gd name="T9" fmla="*/ 0 h 769"/>
                <a:gd name="T10" fmla="*/ 171 w 171"/>
                <a:gd name="T11" fmla="*/ 86 h 769"/>
                <a:gd name="T12" fmla="*/ 171 w 171"/>
                <a:gd name="T13" fmla="*/ 683 h 769"/>
                <a:gd name="T14" fmla="*/ 85 w 171"/>
                <a:gd name="T15" fmla="*/ 769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9">
                  <a:moveTo>
                    <a:pt x="85" y="769"/>
                  </a:moveTo>
                  <a:cubicBezTo>
                    <a:pt x="85" y="769"/>
                    <a:pt x="85" y="769"/>
                    <a:pt x="85" y="769"/>
                  </a:cubicBezTo>
                  <a:cubicBezTo>
                    <a:pt x="38" y="769"/>
                    <a:pt x="0" y="730"/>
                    <a:pt x="0" y="6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3" y="0"/>
                    <a:pt x="171" y="39"/>
                    <a:pt x="171" y="86"/>
                  </a:cubicBezTo>
                  <a:cubicBezTo>
                    <a:pt x="171" y="683"/>
                    <a:pt x="171" y="683"/>
                    <a:pt x="171" y="683"/>
                  </a:cubicBezTo>
                  <a:cubicBezTo>
                    <a:pt x="171" y="730"/>
                    <a:pt x="133" y="769"/>
                    <a:pt x="85" y="76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3" name="Freeform 25"/>
            <p:cNvSpPr>
              <a:spLocks/>
            </p:cNvSpPr>
            <p:nvPr userDrawn="1"/>
          </p:nvSpPr>
          <p:spPr bwMode="auto">
            <a:xfrm>
              <a:off x="0" y="3148013"/>
              <a:ext cx="228600" cy="2438400"/>
            </a:xfrm>
            <a:custGeom>
              <a:avLst/>
              <a:gdLst>
                <a:gd name="T0" fmla="*/ 0 w 72"/>
                <a:gd name="T1" fmla="*/ 0 h 766"/>
                <a:gd name="T2" fmla="*/ 0 w 72"/>
                <a:gd name="T3" fmla="*/ 766 h 766"/>
                <a:gd name="T4" fmla="*/ 72 w 72"/>
                <a:gd name="T5" fmla="*/ 681 h 766"/>
                <a:gd name="T6" fmla="*/ 72 w 72"/>
                <a:gd name="T7" fmla="*/ 84 h 766"/>
                <a:gd name="T8" fmla="*/ 0 w 72"/>
                <a:gd name="T9" fmla="*/ 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66">
                  <a:moveTo>
                    <a:pt x="0" y="0"/>
                  </a:moveTo>
                  <a:cubicBezTo>
                    <a:pt x="0" y="766"/>
                    <a:pt x="0" y="766"/>
                    <a:pt x="0" y="766"/>
                  </a:cubicBezTo>
                  <a:cubicBezTo>
                    <a:pt x="41" y="759"/>
                    <a:pt x="72" y="724"/>
                    <a:pt x="72" y="681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42"/>
                    <a:pt x="41" y="6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4" name="Freeform 26"/>
            <p:cNvSpPr>
              <a:spLocks/>
            </p:cNvSpPr>
            <p:nvPr userDrawn="1"/>
          </p:nvSpPr>
          <p:spPr bwMode="auto">
            <a:xfrm>
              <a:off x="11950700" y="4105275"/>
              <a:ext cx="254000" cy="2444750"/>
            </a:xfrm>
            <a:custGeom>
              <a:avLst/>
              <a:gdLst>
                <a:gd name="T0" fmla="*/ 80 w 80"/>
                <a:gd name="T1" fmla="*/ 0 h 768"/>
                <a:gd name="T2" fmla="*/ 0 w 80"/>
                <a:gd name="T3" fmla="*/ 85 h 768"/>
                <a:gd name="T4" fmla="*/ 0 w 80"/>
                <a:gd name="T5" fmla="*/ 682 h 768"/>
                <a:gd name="T6" fmla="*/ 80 w 80"/>
                <a:gd name="T7" fmla="*/ 768 h 768"/>
                <a:gd name="T8" fmla="*/ 80 w 80"/>
                <a:gd name="T9" fmla="*/ 0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768">
                  <a:moveTo>
                    <a:pt x="80" y="0"/>
                  </a:moveTo>
                  <a:cubicBezTo>
                    <a:pt x="36" y="2"/>
                    <a:pt x="0" y="39"/>
                    <a:pt x="0" y="85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728"/>
                    <a:pt x="36" y="766"/>
                    <a:pt x="80" y="768"/>
                  </a:cubicBez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</p:spTree>
    <p:extLst>
      <p:ext uri="{BB962C8B-B14F-4D97-AF65-F5344CB8AC3E}">
        <p14:creationId xmlns:p14="http://schemas.microsoft.com/office/powerpoint/2010/main" val="2575594297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E43D5-A05A-41D5-AF2A-4CC6E5568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E43D5-A05A-41D5-AF2A-4CC6E5568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089026"/>
            <a:ext cx="6864086" cy="2268744"/>
          </a:xfrm>
        </p:spPr>
        <p:txBody>
          <a:bodyPr vert="horz">
            <a:noAutofit/>
          </a:bodyPr>
          <a:lstStyle>
            <a:lvl1pPr algn="ctr"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and type quo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3573522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57657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8059BD-90CE-4BF2-904B-E663F3470C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08059BD-90CE-4BF2-904B-E663F3470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090800"/>
            <a:ext cx="6864086" cy="2268000"/>
          </a:xfrm>
        </p:spPr>
        <p:txBody>
          <a:bodyPr vert="horz">
            <a:noAutofit/>
          </a:bodyPr>
          <a:lstStyle>
            <a:lvl1pPr algn="ctr">
              <a:defRPr sz="3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and type quo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3573522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chemeClr val="bg1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Logotype, static"/>
          <p:cNvGrpSpPr/>
          <p:nvPr userDrawn="1"/>
        </p:nvGrpSpPr>
        <p:grpSpPr>
          <a:xfrm>
            <a:off x="10689466" y="6389301"/>
            <a:ext cx="863687" cy="180102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4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5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6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7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8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01606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Pulse Patter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6AE00A3-BEB7-431D-B6EC-06131D9476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6AE00A3-BEB7-431D-B6EC-06131D947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66246"/>
            <a:ext cx="6864086" cy="2327243"/>
          </a:xfrm>
        </p:spPr>
        <p:txBody>
          <a:bodyPr vert="horz">
            <a:noAutofit/>
          </a:bodyPr>
          <a:lstStyle>
            <a:lvl1pPr algn="ctr">
              <a:defRPr sz="3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and type quo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2709242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chemeClr val="bg1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Pulse"/>
          <p:cNvGrpSpPr/>
          <p:nvPr userDrawn="1"/>
        </p:nvGrpSpPr>
        <p:grpSpPr>
          <a:xfrm>
            <a:off x="1" y="3348039"/>
            <a:ext cx="12204700" cy="2643187"/>
            <a:chOff x="0" y="3348038"/>
            <a:chExt cx="12204700" cy="2643187"/>
          </a:xfrm>
          <a:solidFill>
            <a:srgbClr val="0000FF"/>
          </a:solidFill>
        </p:grpSpPr>
        <p:sp>
          <p:nvSpPr>
            <p:cNvPr id="45" name="Freeform 5"/>
            <p:cNvSpPr>
              <a:spLocks/>
            </p:cNvSpPr>
            <p:nvPr userDrawn="1"/>
          </p:nvSpPr>
          <p:spPr bwMode="auto">
            <a:xfrm>
              <a:off x="1906588" y="4092575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6" name="Freeform 6"/>
            <p:cNvSpPr>
              <a:spLocks/>
            </p:cNvSpPr>
            <p:nvPr userDrawn="1"/>
          </p:nvSpPr>
          <p:spPr bwMode="auto">
            <a:xfrm>
              <a:off x="3979863" y="4564063"/>
              <a:ext cx="193675" cy="325438"/>
            </a:xfrm>
            <a:custGeom>
              <a:avLst/>
              <a:gdLst>
                <a:gd name="T0" fmla="*/ 30 w 61"/>
                <a:gd name="T1" fmla="*/ 102 h 102"/>
                <a:gd name="T2" fmla="*/ 30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0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0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0" y="102"/>
                  </a:moveTo>
                  <a:cubicBezTo>
                    <a:pt x="30" y="102"/>
                    <a:pt x="30" y="102"/>
                    <a:pt x="30" y="102"/>
                  </a:cubicBezTo>
                  <a:cubicBezTo>
                    <a:pt x="13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7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7" y="102"/>
                    <a:pt x="30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7" name="Freeform 7"/>
            <p:cNvSpPr>
              <a:spLocks/>
            </p:cNvSpPr>
            <p:nvPr userDrawn="1"/>
          </p:nvSpPr>
          <p:spPr bwMode="auto">
            <a:xfrm>
              <a:off x="1585913" y="4564063"/>
              <a:ext cx="193675" cy="325438"/>
            </a:xfrm>
            <a:custGeom>
              <a:avLst/>
              <a:gdLst>
                <a:gd name="T0" fmla="*/ 30 w 61"/>
                <a:gd name="T1" fmla="*/ 102 h 102"/>
                <a:gd name="T2" fmla="*/ 30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0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0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0" y="102"/>
                  </a:moveTo>
                  <a:cubicBezTo>
                    <a:pt x="30" y="102"/>
                    <a:pt x="30" y="102"/>
                    <a:pt x="30" y="102"/>
                  </a:cubicBezTo>
                  <a:cubicBezTo>
                    <a:pt x="13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7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7" y="102"/>
                    <a:pt x="30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8" name="Freeform 8"/>
            <p:cNvSpPr>
              <a:spLocks/>
            </p:cNvSpPr>
            <p:nvPr userDrawn="1"/>
          </p:nvSpPr>
          <p:spPr bwMode="auto">
            <a:xfrm>
              <a:off x="3524250" y="4548188"/>
              <a:ext cx="325438" cy="809625"/>
            </a:xfrm>
            <a:custGeom>
              <a:avLst/>
              <a:gdLst>
                <a:gd name="T0" fmla="*/ 51 w 102"/>
                <a:gd name="T1" fmla="*/ 254 h 254"/>
                <a:gd name="T2" fmla="*/ 51 w 102"/>
                <a:gd name="T3" fmla="*/ 254 h 254"/>
                <a:gd name="T4" fmla="*/ 0 w 102"/>
                <a:gd name="T5" fmla="*/ 203 h 254"/>
                <a:gd name="T6" fmla="*/ 0 w 102"/>
                <a:gd name="T7" fmla="*/ 51 h 254"/>
                <a:gd name="T8" fmla="*/ 51 w 102"/>
                <a:gd name="T9" fmla="*/ 0 h 254"/>
                <a:gd name="T10" fmla="*/ 102 w 102"/>
                <a:gd name="T11" fmla="*/ 51 h 254"/>
                <a:gd name="T12" fmla="*/ 102 w 102"/>
                <a:gd name="T13" fmla="*/ 203 h 254"/>
                <a:gd name="T14" fmla="*/ 51 w 102"/>
                <a:gd name="T15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4">
                  <a:moveTo>
                    <a:pt x="51" y="254"/>
                  </a:moveTo>
                  <a:cubicBezTo>
                    <a:pt x="51" y="254"/>
                    <a:pt x="51" y="254"/>
                    <a:pt x="51" y="254"/>
                  </a:cubicBezTo>
                  <a:cubicBezTo>
                    <a:pt x="23" y="254"/>
                    <a:pt x="0" y="232"/>
                    <a:pt x="0" y="20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3"/>
                    <a:pt x="102" y="203"/>
                    <a:pt x="102" y="203"/>
                  </a:cubicBezTo>
                  <a:cubicBezTo>
                    <a:pt x="102" y="232"/>
                    <a:pt x="79" y="254"/>
                    <a:pt x="51" y="2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9" name="Freeform 9"/>
            <p:cNvSpPr>
              <a:spLocks/>
            </p:cNvSpPr>
            <p:nvPr userDrawn="1"/>
          </p:nvSpPr>
          <p:spPr bwMode="auto">
            <a:xfrm>
              <a:off x="2393950" y="3462338"/>
              <a:ext cx="403225" cy="1814513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4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7" y="29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0" name="Freeform 10"/>
            <p:cNvSpPr>
              <a:spLocks/>
            </p:cNvSpPr>
            <p:nvPr userDrawn="1"/>
          </p:nvSpPr>
          <p:spPr bwMode="auto">
            <a:xfrm>
              <a:off x="311150" y="3462338"/>
              <a:ext cx="406400" cy="1814513"/>
            </a:xfrm>
            <a:custGeom>
              <a:avLst/>
              <a:gdLst>
                <a:gd name="T0" fmla="*/ 64 w 128"/>
                <a:gd name="T1" fmla="*/ 570 h 570"/>
                <a:gd name="T2" fmla="*/ 64 w 128"/>
                <a:gd name="T3" fmla="*/ 570 h 570"/>
                <a:gd name="T4" fmla="*/ 0 w 128"/>
                <a:gd name="T5" fmla="*/ 506 h 570"/>
                <a:gd name="T6" fmla="*/ 0 w 128"/>
                <a:gd name="T7" fmla="*/ 64 h 570"/>
                <a:gd name="T8" fmla="*/ 64 w 128"/>
                <a:gd name="T9" fmla="*/ 0 h 570"/>
                <a:gd name="T10" fmla="*/ 128 w 128"/>
                <a:gd name="T11" fmla="*/ 64 h 570"/>
                <a:gd name="T12" fmla="*/ 128 w 128"/>
                <a:gd name="T13" fmla="*/ 506 h 570"/>
                <a:gd name="T14" fmla="*/ 64 w 128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506"/>
                    <a:pt x="128" y="506"/>
                    <a:pt x="128" y="506"/>
                  </a:cubicBezTo>
                  <a:cubicBezTo>
                    <a:pt x="128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1" name="Freeform 11"/>
            <p:cNvSpPr>
              <a:spLocks/>
            </p:cNvSpPr>
            <p:nvPr userDrawn="1"/>
          </p:nvSpPr>
          <p:spPr bwMode="auto">
            <a:xfrm>
              <a:off x="2959100" y="4175125"/>
              <a:ext cx="403225" cy="1816100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4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9" y="0"/>
                    <a:pt x="64" y="0"/>
                  </a:cubicBezTo>
                  <a:cubicBezTo>
                    <a:pt x="99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2" name="Freeform 12"/>
            <p:cNvSpPr>
              <a:spLocks noEditPoints="1"/>
            </p:cNvSpPr>
            <p:nvPr userDrawn="1"/>
          </p:nvSpPr>
          <p:spPr bwMode="auto">
            <a:xfrm>
              <a:off x="1131888" y="4548188"/>
              <a:ext cx="323850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4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4" y="244"/>
                    <a:pt x="51" y="244"/>
                  </a:cubicBezTo>
                  <a:cubicBezTo>
                    <a:pt x="29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9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2"/>
                    <a:pt x="23" y="254"/>
                    <a:pt x="51" y="254"/>
                  </a:cubicBezTo>
                  <a:cubicBezTo>
                    <a:pt x="79" y="254"/>
                    <a:pt x="102" y="232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3" name="Freeform 13"/>
            <p:cNvSpPr>
              <a:spLocks noEditPoints="1"/>
            </p:cNvSpPr>
            <p:nvPr userDrawn="1"/>
          </p:nvSpPr>
          <p:spPr bwMode="auto">
            <a:xfrm>
              <a:off x="565150" y="4175125"/>
              <a:ext cx="404813" cy="1816100"/>
            </a:xfrm>
            <a:custGeom>
              <a:avLst/>
              <a:gdLst>
                <a:gd name="T0" fmla="*/ 64 w 127"/>
                <a:gd name="T1" fmla="*/ 10 h 570"/>
                <a:gd name="T2" fmla="*/ 117 w 127"/>
                <a:gd name="T3" fmla="*/ 64 h 570"/>
                <a:gd name="T4" fmla="*/ 117 w 127"/>
                <a:gd name="T5" fmla="*/ 506 h 570"/>
                <a:gd name="T6" fmla="*/ 64 w 127"/>
                <a:gd name="T7" fmla="*/ 560 h 570"/>
                <a:gd name="T8" fmla="*/ 10 w 127"/>
                <a:gd name="T9" fmla="*/ 506 h 570"/>
                <a:gd name="T10" fmla="*/ 10 w 127"/>
                <a:gd name="T11" fmla="*/ 64 h 570"/>
                <a:gd name="T12" fmla="*/ 64 w 127"/>
                <a:gd name="T13" fmla="*/ 10 h 570"/>
                <a:gd name="T14" fmla="*/ 64 w 127"/>
                <a:gd name="T15" fmla="*/ 0 h 570"/>
                <a:gd name="T16" fmla="*/ 0 w 127"/>
                <a:gd name="T17" fmla="*/ 64 h 570"/>
                <a:gd name="T18" fmla="*/ 0 w 127"/>
                <a:gd name="T19" fmla="*/ 506 h 570"/>
                <a:gd name="T20" fmla="*/ 64 w 127"/>
                <a:gd name="T21" fmla="*/ 570 h 570"/>
                <a:gd name="T22" fmla="*/ 127 w 127"/>
                <a:gd name="T23" fmla="*/ 506 h 570"/>
                <a:gd name="T24" fmla="*/ 127 w 127"/>
                <a:gd name="T25" fmla="*/ 64 h 570"/>
                <a:gd name="T26" fmla="*/ 64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4" y="10"/>
                  </a:moveTo>
                  <a:cubicBezTo>
                    <a:pt x="93" y="10"/>
                    <a:pt x="117" y="34"/>
                    <a:pt x="117" y="64"/>
                  </a:cubicBezTo>
                  <a:cubicBezTo>
                    <a:pt x="117" y="506"/>
                    <a:pt x="117" y="506"/>
                    <a:pt x="117" y="506"/>
                  </a:cubicBezTo>
                  <a:cubicBezTo>
                    <a:pt x="117" y="536"/>
                    <a:pt x="93" y="560"/>
                    <a:pt x="64" y="560"/>
                  </a:cubicBezTo>
                  <a:cubicBezTo>
                    <a:pt x="34" y="560"/>
                    <a:pt x="10" y="536"/>
                    <a:pt x="10" y="506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4"/>
                    <a:pt x="34" y="10"/>
                    <a:pt x="64" y="10"/>
                  </a:cubicBezTo>
                  <a:moveTo>
                    <a:pt x="64" y="0"/>
                  </a:moveTo>
                  <a:cubicBezTo>
                    <a:pt x="29" y="0"/>
                    <a:pt x="0" y="28"/>
                    <a:pt x="0" y="64"/>
                  </a:cubicBezTo>
                  <a:cubicBezTo>
                    <a:pt x="0" y="506"/>
                    <a:pt x="0" y="506"/>
                    <a:pt x="0" y="506"/>
                  </a:cubicBezTo>
                  <a:cubicBezTo>
                    <a:pt x="0" y="541"/>
                    <a:pt x="29" y="570"/>
                    <a:pt x="64" y="570"/>
                  </a:cubicBezTo>
                  <a:cubicBezTo>
                    <a:pt x="99" y="570"/>
                    <a:pt x="127" y="541"/>
                    <a:pt x="127" y="506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8"/>
                    <a:pt x="99" y="0"/>
                    <a:pt x="6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4" name="Freeform 14"/>
            <p:cNvSpPr>
              <a:spLocks/>
            </p:cNvSpPr>
            <p:nvPr userDrawn="1"/>
          </p:nvSpPr>
          <p:spPr bwMode="auto">
            <a:xfrm>
              <a:off x="10434638" y="4092575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5" name="Freeform 15"/>
            <p:cNvSpPr>
              <a:spLocks/>
            </p:cNvSpPr>
            <p:nvPr userDrawn="1"/>
          </p:nvSpPr>
          <p:spPr bwMode="auto">
            <a:xfrm>
              <a:off x="10110788" y="4564063"/>
              <a:ext cx="193675" cy="325438"/>
            </a:xfrm>
            <a:custGeom>
              <a:avLst/>
              <a:gdLst>
                <a:gd name="T0" fmla="*/ 31 w 61"/>
                <a:gd name="T1" fmla="*/ 102 h 102"/>
                <a:gd name="T2" fmla="*/ 31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1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1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1" y="102"/>
                  </a:moveTo>
                  <a:cubicBezTo>
                    <a:pt x="31" y="102"/>
                    <a:pt x="31" y="102"/>
                    <a:pt x="31" y="102"/>
                  </a:cubicBezTo>
                  <a:cubicBezTo>
                    <a:pt x="14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8" y="102"/>
                    <a:pt x="31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6" name="Freeform 16"/>
            <p:cNvSpPr>
              <a:spLocks/>
            </p:cNvSpPr>
            <p:nvPr userDrawn="1"/>
          </p:nvSpPr>
          <p:spPr bwMode="auto">
            <a:xfrm>
              <a:off x="10920413" y="3462338"/>
              <a:ext cx="403225" cy="1814513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98" y="0"/>
                    <a:pt x="127" y="29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7" name="Freeform 17"/>
            <p:cNvSpPr>
              <a:spLocks/>
            </p:cNvSpPr>
            <p:nvPr userDrawn="1"/>
          </p:nvSpPr>
          <p:spPr bwMode="auto">
            <a:xfrm>
              <a:off x="11487150" y="41751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99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8" name="Freeform 18"/>
            <p:cNvSpPr>
              <a:spLocks noEditPoints="1"/>
            </p:cNvSpPr>
            <p:nvPr userDrawn="1"/>
          </p:nvSpPr>
          <p:spPr bwMode="auto">
            <a:xfrm>
              <a:off x="8367713" y="4159250"/>
              <a:ext cx="325438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51 w 102"/>
                <a:gd name="T17" fmla="*/ 0 h 254"/>
                <a:gd name="T18" fmla="*/ 0 w 102"/>
                <a:gd name="T19" fmla="*/ 51 h 254"/>
                <a:gd name="T20" fmla="*/ 0 w 102"/>
                <a:gd name="T21" fmla="*/ 203 h 254"/>
                <a:gd name="T22" fmla="*/ 51 w 102"/>
                <a:gd name="T23" fmla="*/ 254 h 254"/>
                <a:gd name="T24" fmla="*/ 102 w 102"/>
                <a:gd name="T25" fmla="*/ 203 h 254"/>
                <a:gd name="T26" fmla="*/ 102 w 102"/>
                <a:gd name="T27" fmla="*/ 51 h 254"/>
                <a:gd name="T28" fmla="*/ 51 w 102"/>
                <a:gd name="T2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3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3" y="244"/>
                    <a:pt x="51" y="244"/>
                  </a:cubicBezTo>
                  <a:cubicBezTo>
                    <a:pt x="28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8" y="10"/>
                    <a:pt x="51" y="10"/>
                  </a:cubicBezTo>
                  <a:moveTo>
                    <a:pt x="51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9" name="Freeform 19"/>
            <p:cNvSpPr>
              <a:spLocks/>
            </p:cNvSpPr>
            <p:nvPr userDrawn="1"/>
          </p:nvSpPr>
          <p:spPr bwMode="auto">
            <a:xfrm>
              <a:off x="9658350" y="4548188"/>
              <a:ext cx="322263" cy="809625"/>
            </a:xfrm>
            <a:custGeom>
              <a:avLst/>
              <a:gdLst>
                <a:gd name="T0" fmla="*/ 51 w 101"/>
                <a:gd name="T1" fmla="*/ 254 h 254"/>
                <a:gd name="T2" fmla="*/ 51 w 101"/>
                <a:gd name="T3" fmla="*/ 254 h 254"/>
                <a:gd name="T4" fmla="*/ 0 w 101"/>
                <a:gd name="T5" fmla="*/ 203 h 254"/>
                <a:gd name="T6" fmla="*/ 0 w 101"/>
                <a:gd name="T7" fmla="*/ 51 h 254"/>
                <a:gd name="T8" fmla="*/ 51 w 101"/>
                <a:gd name="T9" fmla="*/ 0 h 254"/>
                <a:gd name="T10" fmla="*/ 101 w 101"/>
                <a:gd name="T11" fmla="*/ 51 h 254"/>
                <a:gd name="T12" fmla="*/ 101 w 101"/>
                <a:gd name="T13" fmla="*/ 203 h 254"/>
                <a:gd name="T14" fmla="*/ 51 w 101"/>
                <a:gd name="T15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254">
                  <a:moveTo>
                    <a:pt x="51" y="254"/>
                  </a:moveTo>
                  <a:cubicBezTo>
                    <a:pt x="51" y="254"/>
                    <a:pt x="51" y="254"/>
                    <a:pt x="51" y="254"/>
                  </a:cubicBezTo>
                  <a:cubicBezTo>
                    <a:pt x="22" y="254"/>
                    <a:pt x="0" y="232"/>
                    <a:pt x="0" y="20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2" y="0"/>
                    <a:pt x="51" y="0"/>
                  </a:cubicBezTo>
                  <a:cubicBezTo>
                    <a:pt x="79" y="0"/>
                    <a:pt x="101" y="23"/>
                    <a:pt x="101" y="51"/>
                  </a:cubicBezTo>
                  <a:cubicBezTo>
                    <a:pt x="101" y="203"/>
                    <a:pt x="101" y="203"/>
                    <a:pt x="101" y="203"/>
                  </a:cubicBezTo>
                  <a:cubicBezTo>
                    <a:pt x="101" y="232"/>
                    <a:pt x="79" y="254"/>
                    <a:pt x="51" y="2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0" name="Freeform 20"/>
            <p:cNvSpPr>
              <a:spLocks noEditPoints="1"/>
            </p:cNvSpPr>
            <p:nvPr userDrawn="1"/>
          </p:nvSpPr>
          <p:spPr bwMode="auto">
            <a:xfrm>
              <a:off x="8855075" y="3525838"/>
              <a:ext cx="403225" cy="1816100"/>
            </a:xfrm>
            <a:custGeom>
              <a:avLst/>
              <a:gdLst>
                <a:gd name="T0" fmla="*/ 63 w 127"/>
                <a:gd name="T1" fmla="*/ 11 h 570"/>
                <a:gd name="T2" fmla="*/ 117 w 127"/>
                <a:gd name="T3" fmla="*/ 64 h 570"/>
                <a:gd name="T4" fmla="*/ 117 w 127"/>
                <a:gd name="T5" fmla="*/ 507 h 570"/>
                <a:gd name="T6" fmla="*/ 63 w 127"/>
                <a:gd name="T7" fmla="*/ 560 h 570"/>
                <a:gd name="T8" fmla="*/ 10 w 127"/>
                <a:gd name="T9" fmla="*/ 507 h 570"/>
                <a:gd name="T10" fmla="*/ 10 w 127"/>
                <a:gd name="T11" fmla="*/ 64 h 570"/>
                <a:gd name="T12" fmla="*/ 63 w 127"/>
                <a:gd name="T13" fmla="*/ 11 h 570"/>
                <a:gd name="T14" fmla="*/ 63 w 127"/>
                <a:gd name="T15" fmla="*/ 0 h 570"/>
                <a:gd name="T16" fmla="*/ 0 w 127"/>
                <a:gd name="T17" fmla="*/ 64 h 570"/>
                <a:gd name="T18" fmla="*/ 0 w 127"/>
                <a:gd name="T19" fmla="*/ 507 h 570"/>
                <a:gd name="T20" fmla="*/ 63 w 127"/>
                <a:gd name="T21" fmla="*/ 570 h 570"/>
                <a:gd name="T22" fmla="*/ 127 w 127"/>
                <a:gd name="T23" fmla="*/ 507 h 570"/>
                <a:gd name="T24" fmla="*/ 127 w 127"/>
                <a:gd name="T25" fmla="*/ 64 h 570"/>
                <a:gd name="T26" fmla="*/ 63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3" y="11"/>
                  </a:moveTo>
                  <a:cubicBezTo>
                    <a:pt x="93" y="11"/>
                    <a:pt x="117" y="35"/>
                    <a:pt x="117" y="64"/>
                  </a:cubicBezTo>
                  <a:cubicBezTo>
                    <a:pt x="117" y="507"/>
                    <a:pt x="117" y="507"/>
                    <a:pt x="117" y="507"/>
                  </a:cubicBezTo>
                  <a:cubicBezTo>
                    <a:pt x="117" y="536"/>
                    <a:pt x="93" y="560"/>
                    <a:pt x="63" y="560"/>
                  </a:cubicBezTo>
                  <a:cubicBezTo>
                    <a:pt x="34" y="560"/>
                    <a:pt x="10" y="536"/>
                    <a:pt x="10" y="507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5"/>
                    <a:pt x="34" y="11"/>
                    <a:pt x="63" y="11"/>
                  </a:cubicBezTo>
                  <a:moveTo>
                    <a:pt x="63" y="0"/>
                  </a:moveTo>
                  <a:cubicBezTo>
                    <a:pt x="28" y="0"/>
                    <a:pt x="0" y="29"/>
                    <a:pt x="0" y="64"/>
                  </a:cubicBezTo>
                  <a:cubicBezTo>
                    <a:pt x="0" y="507"/>
                    <a:pt x="0" y="507"/>
                    <a:pt x="0" y="507"/>
                  </a:cubicBezTo>
                  <a:cubicBezTo>
                    <a:pt x="0" y="542"/>
                    <a:pt x="28" y="570"/>
                    <a:pt x="63" y="570"/>
                  </a:cubicBezTo>
                  <a:cubicBezTo>
                    <a:pt x="98" y="570"/>
                    <a:pt x="127" y="542"/>
                    <a:pt x="127" y="507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9"/>
                    <a:pt x="98" y="0"/>
                    <a:pt x="6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1" name="Freeform 21"/>
            <p:cNvSpPr>
              <a:spLocks noEditPoints="1"/>
            </p:cNvSpPr>
            <p:nvPr userDrawn="1"/>
          </p:nvSpPr>
          <p:spPr bwMode="auto">
            <a:xfrm>
              <a:off x="4075113" y="4159250"/>
              <a:ext cx="323850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4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4" y="244"/>
                    <a:pt x="51" y="244"/>
                  </a:cubicBezTo>
                  <a:cubicBezTo>
                    <a:pt x="29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9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2" name="Freeform 22"/>
            <p:cNvSpPr>
              <a:spLocks noEditPoints="1"/>
            </p:cNvSpPr>
            <p:nvPr userDrawn="1"/>
          </p:nvSpPr>
          <p:spPr bwMode="auto">
            <a:xfrm>
              <a:off x="4560888" y="3525838"/>
              <a:ext cx="403225" cy="1816100"/>
            </a:xfrm>
            <a:custGeom>
              <a:avLst/>
              <a:gdLst>
                <a:gd name="T0" fmla="*/ 63 w 127"/>
                <a:gd name="T1" fmla="*/ 11 h 570"/>
                <a:gd name="T2" fmla="*/ 117 w 127"/>
                <a:gd name="T3" fmla="*/ 64 h 570"/>
                <a:gd name="T4" fmla="*/ 117 w 127"/>
                <a:gd name="T5" fmla="*/ 507 h 570"/>
                <a:gd name="T6" fmla="*/ 63 w 127"/>
                <a:gd name="T7" fmla="*/ 560 h 570"/>
                <a:gd name="T8" fmla="*/ 10 w 127"/>
                <a:gd name="T9" fmla="*/ 507 h 570"/>
                <a:gd name="T10" fmla="*/ 10 w 127"/>
                <a:gd name="T11" fmla="*/ 64 h 570"/>
                <a:gd name="T12" fmla="*/ 63 w 127"/>
                <a:gd name="T13" fmla="*/ 11 h 570"/>
                <a:gd name="T14" fmla="*/ 63 w 127"/>
                <a:gd name="T15" fmla="*/ 0 h 570"/>
                <a:gd name="T16" fmla="*/ 0 w 127"/>
                <a:gd name="T17" fmla="*/ 64 h 570"/>
                <a:gd name="T18" fmla="*/ 0 w 127"/>
                <a:gd name="T19" fmla="*/ 507 h 570"/>
                <a:gd name="T20" fmla="*/ 63 w 127"/>
                <a:gd name="T21" fmla="*/ 570 h 570"/>
                <a:gd name="T22" fmla="*/ 127 w 127"/>
                <a:gd name="T23" fmla="*/ 507 h 570"/>
                <a:gd name="T24" fmla="*/ 127 w 127"/>
                <a:gd name="T25" fmla="*/ 64 h 570"/>
                <a:gd name="T26" fmla="*/ 63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3" y="11"/>
                  </a:moveTo>
                  <a:cubicBezTo>
                    <a:pt x="93" y="11"/>
                    <a:pt x="117" y="35"/>
                    <a:pt x="117" y="64"/>
                  </a:cubicBezTo>
                  <a:cubicBezTo>
                    <a:pt x="117" y="507"/>
                    <a:pt x="117" y="507"/>
                    <a:pt x="117" y="507"/>
                  </a:cubicBezTo>
                  <a:cubicBezTo>
                    <a:pt x="117" y="536"/>
                    <a:pt x="93" y="560"/>
                    <a:pt x="63" y="560"/>
                  </a:cubicBezTo>
                  <a:cubicBezTo>
                    <a:pt x="34" y="560"/>
                    <a:pt x="10" y="536"/>
                    <a:pt x="10" y="507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5"/>
                    <a:pt x="34" y="11"/>
                    <a:pt x="63" y="11"/>
                  </a:cubicBezTo>
                  <a:moveTo>
                    <a:pt x="63" y="0"/>
                  </a:moveTo>
                  <a:cubicBezTo>
                    <a:pt x="28" y="0"/>
                    <a:pt x="0" y="29"/>
                    <a:pt x="0" y="64"/>
                  </a:cubicBezTo>
                  <a:cubicBezTo>
                    <a:pt x="0" y="507"/>
                    <a:pt x="0" y="507"/>
                    <a:pt x="0" y="507"/>
                  </a:cubicBezTo>
                  <a:cubicBezTo>
                    <a:pt x="0" y="542"/>
                    <a:pt x="28" y="570"/>
                    <a:pt x="63" y="570"/>
                  </a:cubicBezTo>
                  <a:cubicBezTo>
                    <a:pt x="99" y="570"/>
                    <a:pt x="127" y="542"/>
                    <a:pt x="127" y="507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9"/>
                    <a:pt x="99" y="0"/>
                    <a:pt x="6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3" name="Freeform 23"/>
            <p:cNvSpPr>
              <a:spLocks/>
            </p:cNvSpPr>
            <p:nvPr userDrawn="1"/>
          </p:nvSpPr>
          <p:spPr bwMode="auto">
            <a:xfrm>
              <a:off x="9093200" y="41751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98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4" name="Freeform 24"/>
            <p:cNvSpPr>
              <a:spLocks noEditPoints="1"/>
            </p:cNvSpPr>
            <p:nvPr userDrawn="1"/>
          </p:nvSpPr>
          <p:spPr bwMode="auto">
            <a:xfrm>
              <a:off x="5940425" y="3981450"/>
              <a:ext cx="323850" cy="808038"/>
            </a:xfrm>
            <a:custGeom>
              <a:avLst/>
              <a:gdLst>
                <a:gd name="T0" fmla="*/ 51 w 102"/>
                <a:gd name="T1" fmla="*/ 10 h 254"/>
                <a:gd name="T2" fmla="*/ 91 w 102"/>
                <a:gd name="T3" fmla="*/ 51 h 254"/>
                <a:gd name="T4" fmla="*/ 91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3" y="10"/>
                    <a:pt x="91" y="28"/>
                    <a:pt x="91" y="51"/>
                  </a:cubicBezTo>
                  <a:cubicBezTo>
                    <a:pt x="91" y="203"/>
                    <a:pt x="91" y="203"/>
                    <a:pt x="91" y="203"/>
                  </a:cubicBezTo>
                  <a:cubicBezTo>
                    <a:pt x="91" y="226"/>
                    <a:pt x="73" y="244"/>
                    <a:pt x="51" y="244"/>
                  </a:cubicBezTo>
                  <a:cubicBezTo>
                    <a:pt x="28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8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5" name="Freeform 25"/>
            <p:cNvSpPr>
              <a:spLocks/>
            </p:cNvSpPr>
            <p:nvPr userDrawn="1"/>
          </p:nvSpPr>
          <p:spPr bwMode="auto">
            <a:xfrm>
              <a:off x="8008938" y="4449763"/>
              <a:ext cx="193675" cy="323850"/>
            </a:xfrm>
            <a:custGeom>
              <a:avLst/>
              <a:gdLst>
                <a:gd name="T0" fmla="*/ 31 w 61"/>
                <a:gd name="T1" fmla="*/ 102 h 102"/>
                <a:gd name="T2" fmla="*/ 31 w 61"/>
                <a:gd name="T3" fmla="*/ 102 h 102"/>
                <a:gd name="T4" fmla="*/ 0 w 61"/>
                <a:gd name="T5" fmla="*/ 72 h 102"/>
                <a:gd name="T6" fmla="*/ 0 w 61"/>
                <a:gd name="T7" fmla="*/ 31 h 102"/>
                <a:gd name="T8" fmla="*/ 31 w 61"/>
                <a:gd name="T9" fmla="*/ 0 h 102"/>
                <a:gd name="T10" fmla="*/ 61 w 61"/>
                <a:gd name="T11" fmla="*/ 31 h 102"/>
                <a:gd name="T12" fmla="*/ 61 w 61"/>
                <a:gd name="T13" fmla="*/ 72 h 102"/>
                <a:gd name="T14" fmla="*/ 31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1" y="102"/>
                  </a:moveTo>
                  <a:cubicBezTo>
                    <a:pt x="31" y="102"/>
                    <a:pt x="31" y="102"/>
                    <a:pt x="31" y="102"/>
                  </a:cubicBezTo>
                  <a:cubicBezTo>
                    <a:pt x="14" y="102"/>
                    <a:pt x="0" y="89"/>
                    <a:pt x="0" y="72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7" y="0"/>
                    <a:pt x="61" y="14"/>
                    <a:pt x="61" y="31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89"/>
                    <a:pt x="47" y="102"/>
                    <a:pt x="31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6" name="Freeform 26"/>
            <p:cNvSpPr>
              <a:spLocks noEditPoints="1"/>
            </p:cNvSpPr>
            <p:nvPr userDrawn="1"/>
          </p:nvSpPr>
          <p:spPr bwMode="auto">
            <a:xfrm>
              <a:off x="5616575" y="4449763"/>
              <a:ext cx="193675" cy="323850"/>
            </a:xfrm>
            <a:custGeom>
              <a:avLst/>
              <a:gdLst>
                <a:gd name="T0" fmla="*/ 30 w 61"/>
                <a:gd name="T1" fmla="*/ 11 h 102"/>
                <a:gd name="T2" fmla="*/ 51 w 61"/>
                <a:gd name="T3" fmla="*/ 31 h 102"/>
                <a:gd name="T4" fmla="*/ 51 w 61"/>
                <a:gd name="T5" fmla="*/ 72 h 102"/>
                <a:gd name="T6" fmla="*/ 30 w 61"/>
                <a:gd name="T7" fmla="*/ 92 h 102"/>
                <a:gd name="T8" fmla="*/ 10 w 61"/>
                <a:gd name="T9" fmla="*/ 72 h 102"/>
                <a:gd name="T10" fmla="*/ 10 w 61"/>
                <a:gd name="T11" fmla="*/ 31 h 102"/>
                <a:gd name="T12" fmla="*/ 30 w 61"/>
                <a:gd name="T13" fmla="*/ 11 h 102"/>
                <a:gd name="T14" fmla="*/ 30 w 61"/>
                <a:gd name="T15" fmla="*/ 0 h 102"/>
                <a:gd name="T16" fmla="*/ 0 w 61"/>
                <a:gd name="T17" fmla="*/ 31 h 102"/>
                <a:gd name="T18" fmla="*/ 0 w 61"/>
                <a:gd name="T19" fmla="*/ 72 h 102"/>
                <a:gd name="T20" fmla="*/ 30 w 61"/>
                <a:gd name="T21" fmla="*/ 102 h 102"/>
                <a:gd name="T22" fmla="*/ 61 w 61"/>
                <a:gd name="T23" fmla="*/ 72 h 102"/>
                <a:gd name="T24" fmla="*/ 61 w 61"/>
                <a:gd name="T25" fmla="*/ 31 h 102"/>
                <a:gd name="T26" fmla="*/ 30 w 61"/>
                <a:gd name="T2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02">
                  <a:moveTo>
                    <a:pt x="30" y="11"/>
                  </a:moveTo>
                  <a:cubicBezTo>
                    <a:pt x="42" y="11"/>
                    <a:pt x="51" y="20"/>
                    <a:pt x="51" y="31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83"/>
                    <a:pt x="42" y="92"/>
                    <a:pt x="30" y="92"/>
                  </a:cubicBezTo>
                  <a:cubicBezTo>
                    <a:pt x="19" y="92"/>
                    <a:pt x="10" y="83"/>
                    <a:pt x="10" y="72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20"/>
                    <a:pt x="19" y="11"/>
                    <a:pt x="30" y="11"/>
                  </a:cubicBezTo>
                  <a:moveTo>
                    <a:pt x="30" y="0"/>
                  </a:moveTo>
                  <a:cubicBezTo>
                    <a:pt x="14" y="0"/>
                    <a:pt x="0" y="14"/>
                    <a:pt x="0" y="31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89"/>
                    <a:pt x="14" y="102"/>
                    <a:pt x="30" y="102"/>
                  </a:cubicBezTo>
                  <a:cubicBezTo>
                    <a:pt x="47" y="102"/>
                    <a:pt x="61" y="89"/>
                    <a:pt x="61" y="72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14"/>
                    <a:pt x="47" y="0"/>
                    <a:pt x="3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7" name="Freeform 27"/>
            <p:cNvSpPr>
              <a:spLocks/>
            </p:cNvSpPr>
            <p:nvPr userDrawn="1"/>
          </p:nvSpPr>
          <p:spPr bwMode="auto">
            <a:xfrm>
              <a:off x="7558088" y="4433888"/>
              <a:ext cx="320675" cy="811213"/>
            </a:xfrm>
            <a:custGeom>
              <a:avLst/>
              <a:gdLst>
                <a:gd name="T0" fmla="*/ 50 w 101"/>
                <a:gd name="T1" fmla="*/ 255 h 255"/>
                <a:gd name="T2" fmla="*/ 50 w 101"/>
                <a:gd name="T3" fmla="*/ 255 h 255"/>
                <a:gd name="T4" fmla="*/ 0 w 101"/>
                <a:gd name="T5" fmla="*/ 204 h 255"/>
                <a:gd name="T6" fmla="*/ 0 w 101"/>
                <a:gd name="T7" fmla="*/ 51 h 255"/>
                <a:gd name="T8" fmla="*/ 50 w 101"/>
                <a:gd name="T9" fmla="*/ 0 h 255"/>
                <a:gd name="T10" fmla="*/ 101 w 101"/>
                <a:gd name="T11" fmla="*/ 51 h 255"/>
                <a:gd name="T12" fmla="*/ 101 w 101"/>
                <a:gd name="T13" fmla="*/ 204 h 255"/>
                <a:gd name="T14" fmla="*/ 50 w 101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255">
                  <a:moveTo>
                    <a:pt x="50" y="255"/>
                  </a:moveTo>
                  <a:cubicBezTo>
                    <a:pt x="50" y="255"/>
                    <a:pt x="50" y="255"/>
                    <a:pt x="50" y="255"/>
                  </a:cubicBezTo>
                  <a:cubicBezTo>
                    <a:pt x="22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9" y="0"/>
                    <a:pt x="101" y="23"/>
                    <a:pt x="101" y="51"/>
                  </a:cubicBezTo>
                  <a:cubicBezTo>
                    <a:pt x="101" y="204"/>
                    <a:pt x="101" y="204"/>
                    <a:pt x="101" y="204"/>
                  </a:cubicBezTo>
                  <a:cubicBezTo>
                    <a:pt x="101" y="232"/>
                    <a:pt x="79" y="255"/>
                    <a:pt x="50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8" name="Freeform 28"/>
            <p:cNvSpPr>
              <a:spLocks/>
            </p:cNvSpPr>
            <p:nvPr userDrawn="1"/>
          </p:nvSpPr>
          <p:spPr bwMode="auto">
            <a:xfrm>
              <a:off x="6423025" y="3348038"/>
              <a:ext cx="406400" cy="1814513"/>
            </a:xfrm>
            <a:custGeom>
              <a:avLst/>
              <a:gdLst>
                <a:gd name="T0" fmla="*/ 64 w 128"/>
                <a:gd name="T1" fmla="*/ 570 h 570"/>
                <a:gd name="T2" fmla="*/ 64 w 128"/>
                <a:gd name="T3" fmla="*/ 570 h 570"/>
                <a:gd name="T4" fmla="*/ 0 w 128"/>
                <a:gd name="T5" fmla="*/ 507 h 570"/>
                <a:gd name="T6" fmla="*/ 0 w 128"/>
                <a:gd name="T7" fmla="*/ 64 h 570"/>
                <a:gd name="T8" fmla="*/ 64 w 128"/>
                <a:gd name="T9" fmla="*/ 0 h 570"/>
                <a:gd name="T10" fmla="*/ 128 w 128"/>
                <a:gd name="T11" fmla="*/ 64 h 570"/>
                <a:gd name="T12" fmla="*/ 128 w 128"/>
                <a:gd name="T13" fmla="*/ 507 h 570"/>
                <a:gd name="T14" fmla="*/ 64 w 128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2"/>
                    <a:pt x="0" y="507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507"/>
                    <a:pt x="128" y="507"/>
                    <a:pt x="128" y="507"/>
                  </a:cubicBezTo>
                  <a:cubicBezTo>
                    <a:pt x="128" y="542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9" name="Freeform 29"/>
            <p:cNvSpPr>
              <a:spLocks/>
            </p:cNvSpPr>
            <p:nvPr userDrawn="1"/>
          </p:nvSpPr>
          <p:spPr bwMode="auto">
            <a:xfrm>
              <a:off x="6992938" y="40608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7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7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2"/>
                    <a:pt x="0" y="507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98" y="0"/>
                    <a:pt x="127" y="29"/>
                    <a:pt x="127" y="64"/>
                  </a:cubicBezTo>
                  <a:cubicBezTo>
                    <a:pt x="127" y="507"/>
                    <a:pt x="127" y="507"/>
                    <a:pt x="127" y="507"/>
                  </a:cubicBezTo>
                  <a:cubicBezTo>
                    <a:pt x="127" y="542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0" name="Freeform 30"/>
            <p:cNvSpPr>
              <a:spLocks/>
            </p:cNvSpPr>
            <p:nvPr userDrawn="1"/>
          </p:nvSpPr>
          <p:spPr bwMode="auto">
            <a:xfrm>
              <a:off x="5438775" y="4627563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1" name="Freeform 31"/>
            <p:cNvSpPr>
              <a:spLocks/>
            </p:cNvSpPr>
            <p:nvPr userDrawn="1"/>
          </p:nvSpPr>
          <p:spPr bwMode="auto">
            <a:xfrm>
              <a:off x="4872038" y="3981450"/>
              <a:ext cx="403225" cy="1814513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3 h 570"/>
                <a:gd name="T8" fmla="*/ 64 w 127"/>
                <a:gd name="T9" fmla="*/ 0 h 570"/>
                <a:gd name="T10" fmla="*/ 127 w 127"/>
                <a:gd name="T11" fmla="*/ 63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9" y="0"/>
                    <a:pt x="64" y="0"/>
                  </a:cubicBezTo>
                  <a:cubicBezTo>
                    <a:pt x="99" y="0"/>
                    <a:pt x="127" y="28"/>
                    <a:pt x="127" y="63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2" name="Freeform 32"/>
            <p:cNvSpPr>
              <a:spLocks/>
            </p:cNvSpPr>
            <p:nvPr userDrawn="1"/>
          </p:nvSpPr>
          <p:spPr bwMode="auto">
            <a:xfrm>
              <a:off x="0" y="4095750"/>
              <a:ext cx="152400" cy="809625"/>
            </a:xfrm>
            <a:custGeom>
              <a:avLst/>
              <a:gdLst>
                <a:gd name="T0" fmla="*/ 0 w 48"/>
                <a:gd name="T1" fmla="*/ 0 h 254"/>
                <a:gd name="T2" fmla="*/ 0 w 48"/>
                <a:gd name="T3" fmla="*/ 254 h 254"/>
                <a:gd name="T4" fmla="*/ 48 w 48"/>
                <a:gd name="T5" fmla="*/ 203 h 254"/>
                <a:gd name="T6" fmla="*/ 48 w 48"/>
                <a:gd name="T7" fmla="*/ 50 h 254"/>
                <a:gd name="T8" fmla="*/ 0 w 48"/>
                <a:gd name="T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54">
                  <a:moveTo>
                    <a:pt x="0" y="0"/>
                  </a:moveTo>
                  <a:cubicBezTo>
                    <a:pt x="0" y="254"/>
                    <a:pt x="0" y="254"/>
                    <a:pt x="0" y="254"/>
                  </a:cubicBezTo>
                  <a:cubicBezTo>
                    <a:pt x="27" y="252"/>
                    <a:pt x="48" y="230"/>
                    <a:pt x="48" y="203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23"/>
                    <a:pt x="27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3" name="Freeform 33"/>
            <p:cNvSpPr>
              <a:spLocks/>
            </p:cNvSpPr>
            <p:nvPr userDrawn="1"/>
          </p:nvSpPr>
          <p:spPr bwMode="auto">
            <a:xfrm>
              <a:off x="12052300" y="4548188"/>
              <a:ext cx="152400" cy="809625"/>
            </a:xfrm>
            <a:custGeom>
              <a:avLst/>
              <a:gdLst>
                <a:gd name="T0" fmla="*/ 48 w 48"/>
                <a:gd name="T1" fmla="*/ 0 h 254"/>
                <a:gd name="T2" fmla="*/ 0 w 48"/>
                <a:gd name="T3" fmla="*/ 51 h 254"/>
                <a:gd name="T4" fmla="*/ 0 w 48"/>
                <a:gd name="T5" fmla="*/ 203 h 254"/>
                <a:gd name="T6" fmla="*/ 48 w 48"/>
                <a:gd name="T7" fmla="*/ 254 h 254"/>
                <a:gd name="T8" fmla="*/ 48 w 48"/>
                <a:gd name="T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54">
                  <a:moveTo>
                    <a:pt x="48" y="0"/>
                  </a:moveTo>
                  <a:cubicBezTo>
                    <a:pt x="20" y="2"/>
                    <a:pt x="0" y="24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0" y="253"/>
                    <a:pt x="48" y="254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37" name="Logotype, static"/>
          <p:cNvGrpSpPr/>
          <p:nvPr userDrawn="1"/>
        </p:nvGrpSpPr>
        <p:grpSpPr>
          <a:xfrm>
            <a:off x="10689466" y="6389301"/>
            <a:ext cx="863687" cy="180102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38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0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1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2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3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31905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rdea Blue">
    <p:bg>
      <p:bgPr>
        <a:solidFill>
          <a:srgbClr val="0000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8262"/>
            <a:ext cx="5436000" cy="2472849"/>
          </a:xfrm>
        </p:spPr>
        <p:txBody>
          <a:bodyPr>
            <a:noAutofit/>
          </a:bodyPr>
          <a:lstStyle>
            <a:lvl1pPr>
              <a:defRPr sz="4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296176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rgbClr val="FFFFFF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774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026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7" name="Pulse"/>
          <p:cNvGrpSpPr/>
          <p:nvPr userDrawn="1"/>
        </p:nvGrpSpPr>
        <p:grpSpPr>
          <a:xfrm>
            <a:off x="6964846" y="941098"/>
            <a:ext cx="5232032" cy="52995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" name="Logotype">
            <a:extLst>
              <a:ext uri="{FF2B5EF4-FFF2-40B4-BE49-F238E27FC236}">
                <a16:creationId xmlns:a16="http://schemas.microsoft.com/office/drawing/2014/main" id="{5AEACD09-CC44-73F8-6ED2-850F1EDE1E32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72605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10C19B-0612-48C5-BAEB-8DC9E97E7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10C19B-0612-48C5-BAEB-8DC9E97E7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7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38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39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0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1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2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3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8264"/>
            <a:ext cx="7200000" cy="795474"/>
          </a:xfrm>
        </p:spPr>
        <p:txBody>
          <a:bodyPr vert="horz"/>
          <a:lstStyle>
            <a:lvl1pPr>
              <a:defRPr sz="29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06"/>
            <a:ext cx="7200000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257165" indent="0">
              <a:buNone/>
              <a:defRPr sz="900">
                <a:solidFill>
                  <a:schemeClr val="bg1"/>
                </a:solidFill>
              </a:defRPr>
            </a:lvl2pPr>
            <a:lvl3pPr marL="514331" indent="0">
              <a:buNone/>
              <a:defRPr sz="900">
                <a:solidFill>
                  <a:schemeClr val="bg1"/>
                </a:solidFill>
              </a:defRPr>
            </a:lvl3pPr>
            <a:lvl4pPr marL="771497" indent="0">
              <a:buNone/>
              <a:defRPr sz="900">
                <a:solidFill>
                  <a:schemeClr val="bg1"/>
                </a:solidFill>
              </a:defRPr>
            </a:lvl4pPr>
            <a:lvl5pPr marL="1028662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1321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257165" indent="0">
              <a:buNone/>
              <a:defRPr sz="900">
                <a:solidFill>
                  <a:schemeClr val="bg1"/>
                </a:solidFill>
              </a:defRPr>
            </a:lvl2pPr>
            <a:lvl3pPr marL="514331" indent="0">
              <a:buNone/>
              <a:defRPr sz="900">
                <a:solidFill>
                  <a:schemeClr val="bg1"/>
                </a:solidFill>
              </a:defRPr>
            </a:lvl3pPr>
            <a:lvl4pPr marL="771497" indent="0">
              <a:buNone/>
              <a:defRPr sz="900">
                <a:solidFill>
                  <a:schemeClr val="bg1"/>
                </a:solidFill>
              </a:defRPr>
            </a:lvl4pPr>
            <a:lvl5pPr marL="1028662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grpSp>
        <p:nvGrpSpPr>
          <p:cNvPr id="30" name="Logotype"/>
          <p:cNvGrpSpPr/>
          <p:nvPr userDrawn="1"/>
        </p:nvGrpSpPr>
        <p:grpSpPr>
          <a:xfrm>
            <a:off x="640801" y="532800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31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2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3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4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5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6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34692130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0B87C5F-D638-4BFA-8B71-57701A0B4E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0B87C5F-D638-4BFA-8B71-57701A0B4E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9200"/>
            <a:ext cx="7200000" cy="795600"/>
          </a:xfrm>
        </p:spPr>
        <p:txBody>
          <a:bodyPr vert="horz"/>
          <a:lstStyle>
            <a:lvl1pPr>
              <a:defRPr sz="29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06"/>
            <a:ext cx="7200000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257165" indent="0">
              <a:buNone/>
              <a:defRPr sz="900">
                <a:solidFill>
                  <a:schemeClr val="bg1"/>
                </a:solidFill>
              </a:defRPr>
            </a:lvl2pPr>
            <a:lvl3pPr marL="514331" indent="0">
              <a:buNone/>
              <a:defRPr sz="900">
                <a:solidFill>
                  <a:schemeClr val="bg1"/>
                </a:solidFill>
              </a:defRPr>
            </a:lvl3pPr>
            <a:lvl4pPr marL="771497" indent="0">
              <a:buNone/>
              <a:defRPr sz="900">
                <a:solidFill>
                  <a:schemeClr val="bg1"/>
                </a:solidFill>
              </a:defRPr>
            </a:lvl4pPr>
            <a:lvl5pPr marL="1028662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1321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257165" indent="0">
              <a:buNone/>
              <a:defRPr sz="900">
                <a:solidFill>
                  <a:schemeClr val="bg1"/>
                </a:solidFill>
              </a:defRPr>
            </a:lvl2pPr>
            <a:lvl3pPr marL="514331" indent="0">
              <a:buNone/>
              <a:defRPr sz="900">
                <a:solidFill>
                  <a:schemeClr val="bg1"/>
                </a:solidFill>
              </a:defRPr>
            </a:lvl3pPr>
            <a:lvl4pPr marL="771497" indent="0">
              <a:buNone/>
              <a:defRPr sz="900">
                <a:solidFill>
                  <a:schemeClr val="bg1"/>
                </a:solidFill>
              </a:defRPr>
            </a:lvl4pPr>
            <a:lvl5pPr marL="1028662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4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5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6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18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19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0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2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1721543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5436000" cy="24732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294800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773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025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0" name="Pulse">
            <a:extLst>
              <a:ext uri="{FF2B5EF4-FFF2-40B4-BE49-F238E27FC236}">
                <a16:creationId xmlns:a16="http://schemas.microsoft.com/office/drawing/2014/main" id="{5E5D37B7-0D84-24B3-1D0F-520B0EC00344}"/>
              </a:ext>
            </a:extLst>
          </p:cNvPr>
          <p:cNvGrpSpPr/>
          <p:nvPr userDrawn="1"/>
        </p:nvGrpSpPr>
        <p:grpSpPr>
          <a:xfrm>
            <a:off x="6964846" y="941098"/>
            <a:ext cx="5232032" cy="5299513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04FB1EB-FF6E-F6B7-8991-2A63FC2A15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29AF11C8-7F8F-F7C8-62A8-CCAF6B9D75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B5136C4-3187-35EB-C589-E310B31785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257B1AA-DAD1-3C37-DE15-09A23C883A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28A911A6-7D23-992A-499B-E8DFD0C4BE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2BFB7346-42D2-6E66-9653-1C8E1CB794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" name="Logotype">
            <a:extLst>
              <a:ext uri="{FF2B5EF4-FFF2-40B4-BE49-F238E27FC236}">
                <a16:creationId xmlns:a16="http://schemas.microsoft.com/office/drawing/2014/main" id="{C2A71EDC-2551-EC09-7272-3FECA9FF063A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754241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60083"/>
            <a:ext cx="7200000" cy="72016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add agenda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tabLst>
                <a:tab pos="5004000" algn="r"/>
              </a:tabLst>
              <a:defRPr sz="1600">
                <a:solidFill>
                  <a:schemeClr val="bg1"/>
                </a:solidFill>
              </a:defRPr>
            </a:lvl1pPr>
            <a:lvl2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2pPr>
            <a:lvl3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3pPr>
            <a:lvl4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4pPr>
            <a:lvl5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28000"/>
          </a:xfrm>
        </p:spPr>
        <p:txBody>
          <a:bodyPr>
            <a:noAutofit/>
          </a:bodyPr>
          <a:lstStyle>
            <a:lvl1pPr>
              <a:tabLst>
                <a:tab pos="5004000" algn="r"/>
              </a:tabLst>
              <a:defRPr sz="1600">
                <a:solidFill>
                  <a:schemeClr val="bg1"/>
                </a:solidFill>
              </a:defRPr>
            </a:lvl1pPr>
            <a:lvl2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2pPr>
            <a:lvl3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3pPr>
            <a:lvl4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4pPr>
            <a:lvl5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Logotype, static">
            <a:extLst>
              <a:ext uri="{FF2B5EF4-FFF2-40B4-BE49-F238E27FC236}">
                <a16:creationId xmlns:a16="http://schemas.microsoft.com/office/drawing/2014/main" id="{17C67F4D-39A7-4665-5442-B164D1DECA70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6014342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086580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ight Blue">
    <p:bg>
      <p:bgPr>
        <a:solidFill>
          <a:srgbClr val="E5F2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634810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7999" y="360083"/>
            <a:ext cx="7200000" cy="7201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7999" y="1332000"/>
            <a:ext cx="10908000" cy="44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31478" y="6375051"/>
            <a:ext cx="396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cap="all" baseline="0"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  <p:sp>
        <p:nvSpPr>
          <p:cNvPr id="30" name="Logotype, static">
            <a:extLst>
              <a:ext uri="{FF2B5EF4-FFF2-40B4-BE49-F238E27FC236}">
                <a16:creationId xmlns:a16="http://schemas.microsoft.com/office/drawing/2014/main" id="{4CDFEBFF-56BA-BA38-B9E3-B6FC44861925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xxLanguageTextBox">
            <a:extLst>
              <a:ext uri="{FF2B5EF4-FFF2-40B4-BE49-F238E27FC236}">
                <a16:creationId xmlns:a16="http://schemas.microsoft.com/office/drawing/2014/main" id="{9CE3F7C7-EF19-BC00-AC41-3117286E2BDB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556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53" r:id="rId2"/>
    <p:sldLayoutId id="2147483755" r:id="rId3"/>
    <p:sldLayoutId id="2147483730" r:id="rId4"/>
    <p:sldLayoutId id="2147483752" r:id="rId5"/>
    <p:sldLayoutId id="2147483728" r:id="rId6"/>
    <p:sldLayoutId id="2147483748" r:id="rId7"/>
    <p:sldLayoutId id="2147483650" r:id="rId8"/>
    <p:sldLayoutId id="2147483749" r:id="rId9"/>
    <p:sldLayoutId id="2147483750" r:id="rId10"/>
    <p:sldLayoutId id="2147483737" r:id="rId11"/>
    <p:sldLayoutId id="2147483652" r:id="rId12"/>
    <p:sldLayoutId id="2147483738" r:id="rId13"/>
    <p:sldLayoutId id="2147483663" r:id="rId14"/>
    <p:sldLayoutId id="2147483655" r:id="rId15"/>
    <p:sldLayoutId id="2147483751" r:id="rId16"/>
    <p:sldLayoutId id="2147483742" r:id="rId17"/>
    <p:sldLayoutId id="2147483660" r:id="rId18"/>
    <p:sldLayoutId id="2147483724" r:id="rId19"/>
    <p:sldLayoutId id="2147483725" r:id="rId20"/>
    <p:sldLayoutId id="2147483735" r:id="rId21"/>
    <p:sldLayoutId id="2147483743" r:id="rId22"/>
    <p:sldLayoutId id="2147483741" r:id="rId23"/>
    <p:sldLayoutId id="2147483747" r:id="rId24"/>
    <p:sldLayoutId id="2147483733" r:id="rId25"/>
    <p:sldLayoutId id="2147483756" r:id="rId26"/>
  </p:sldLayoutIdLst>
  <p:hf hdr="0" ftr="0" dt="0"/>
  <p:txStyles>
    <p:titleStyle>
      <a:lvl1pPr algn="l" defTabSz="1088776" rtl="0" eaLnBrk="1" latinLnBrk="0" hangingPunct="1"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5487" indent="-215487" algn="l" defTabSz="1088776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71517" indent="-214326" algn="l" defTabSz="1088776" rtl="0" eaLnBrk="1" latinLnBrk="0" hangingPunct="1">
        <a:spcBef>
          <a:spcPts val="0"/>
        </a:spcBef>
        <a:buFont typeface="Arial" pitchFamily="34" charset="0"/>
        <a:buChar char="–"/>
        <a:defRPr sz="12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728708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985900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243091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994134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8522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910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7298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38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77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16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552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94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32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71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10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408" userDrawn="1">
          <p15:clr>
            <a:srgbClr val="F26B43"/>
          </p15:clr>
        </p15:guide>
        <p15:guide id="4" pos="7284" userDrawn="1">
          <p15:clr>
            <a:srgbClr val="F26B43"/>
          </p15:clr>
        </p15:guide>
        <p15:guide id="5" orient="horz" pos="224" userDrawn="1">
          <p15:clr>
            <a:srgbClr val="F26B43"/>
          </p15:clr>
        </p15:guide>
        <p15:guide id="6" orient="horz" pos="686" userDrawn="1">
          <p15:clr>
            <a:srgbClr val="F26B43"/>
          </p15:clr>
        </p15:guide>
        <p15:guide id="7" orient="horz" pos="836" userDrawn="1">
          <p15:clr>
            <a:srgbClr val="F26B43"/>
          </p15:clr>
        </p15:guide>
        <p15:guide id="8" orient="horz" pos="363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085F86F-9441-419A-9890-FC95F4DD74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530" imgH="531" progId="TCLayout.ActiveDocument.1">
                  <p:embed/>
                </p:oleObj>
              </mc:Choice>
              <mc:Fallback>
                <p:oleObj name="think-cell Slide" r:id="rId29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085F86F-9441-419A-9890-FC95F4DD74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7999" y="1332001"/>
            <a:ext cx="10908000" cy="44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8000" y="6375019"/>
            <a:ext cx="324000" cy="1440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A8D"/>
                </a:solidFill>
                <a:latin typeface="Nordea Sans Small" panose="00000500000000000000" pitchFamily="50" charset="0"/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Line 11"/>
          <p:cNvSpPr>
            <a:spLocks noChangeShapeType="1"/>
          </p:cNvSpPr>
          <p:nvPr userDrawn="1"/>
        </p:nvSpPr>
        <p:spPr bwMode="auto">
          <a:xfrm>
            <a:off x="6494463" y="3467100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6494463" y="3467100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sp>
        <p:nvSpPr>
          <p:cNvPr id="18" name="Line 13"/>
          <p:cNvSpPr>
            <a:spLocks noChangeShapeType="1"/>
          </p:cNvSpPr>
          <p:nvPr userDrawn="1"/>
        </p:nvSpPr>
        <p:spPr bwMode="auto">
          <a:xfrm>
            <a:off x="6675438" y="3414713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sp>
        <p:nvSpPr>
          <p:cNvPr id="19" name="Line 14"/>
          <p:cNvSpPr>
            <a:spLocks noChangeShapeType="1"/>
          </p:cNvSpPr>
          <p:nvPr userDrawn="1"/>
        </p:nvSpPr>
        <p:spPr bwMode="auto">
          <a:xfrm>
            <a:off x="6675438" y="3414713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grpSp>
        <p:nvGrpSpPr>
          <p:cNvPr id="21" name="Logotype, static"/>
          <p:cNvGrpSpPr/>
          <p:nvPr userDrawn="1"/>
        </p:nvGrpSpPr>
        <p:grpSpPr>
          <a:xfrm>
            <a:off x="10689466" y="6389301"/>
            <a:ext cx="863687" cy="180102"/>
            <a:chOff x="9501453" y="6148765"/>
            <a:chExt cx="2047875" cy="427037"/>
          </a:xfrm>
        </p:grpSpPr>
        <p:sp>
          <p:nvSpPr>
            <p:cNvPr id="22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31478" y="6375051"/>
            <a:ext cx="396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cap="all" baseline="0">
                <a:solidFill>
                  <a:srgbClr val="8B8A8D"/>
                </a:solidFill>
                <a:latin typeface="Nordea Sans Small" panose="00000500000000000000" pitchFamily="50" charset="0"/>
              </a:defRPr>
            </a:lvl1pPr>
          </a:lstStyle>
          <a:p>
            <a:endParaRPr lang="en-GB"/>
          </a:p>
        </p:txBody>
      </p:sp>
      <p:sp>
        <p:nvSpPr>
          <p:cNvPr id="5" name="xxLanguageTextBox">
            <a:extLst>
              <a:ext uri="{FF2B5EF4-FFF2-40B4-BE49-F238E27FC236}">
                <a16:creationId xmlns:a16="http://schemas.microsoft.com/office/drawing/2014/main" id="{612DBAD8-C389-4EAD-9D02-BEB21DE29F04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2703" cy="12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60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3773" r:id="rId16"/>
    <p:sldLayoutId id="2147483774" r:id="rId17"/>
    <p:sldLayoutId id="2147483775" r:id="rId18"/>
    <p:sldLayoutId id="2147483776" r:id="rId19"/>
    <p:sldLayoutId id="2147483777" r:id="rId20"/>
    <p:sldLayoutId id="2147483778" r:id="rId21"/>
    <p:sldLayoutId id="2147483779" r:id="rId22"/>
    <p:sldLayoutId id="2147483780" r:id="rId23"/>
    <p:sldLayoutId id="2147483781" r:id="rId24"/>
    <p:sldLayoutId id="2147483782" r:id="rId25"/>
  </p:sldLayoutIdLst>
  <p:hf hdr="0" ftr="0" dt="0"/>
  <p:txStyles>
    <p:titleStyle>
      <a:lvl1pPr algn="l" defTabSz="1088667" rtl="0" eaLnBrk="1" latinLnBrk="0" hangingPunct="1">
        <a:spcBef>
          <a:spcPct val="0"/>
        </a:spcBef>
        <a:buNone/>
        <a:defRPr sz="1999" b="1" kern="1200">
          <a:solidFill>
            <a:schemeClr val="tx2"/>
          </a:solidFill>
          <a:latin typeface="Nordea Sans Large Black" panose="00000A00000000000000" pitchFamily="50" charset="0"/>
          <a:ea typeface="+mj-ea"/>
          <a:cs typeface="+mj-cs"/>
        </a:defRPr>
      </a:lvl1pPr>
    </p:titleStyle>
    <p:bodyStyle>
      <a:lvl1pPr marL="215465" indent="-215465" algn="l" defTabSz="1088667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1pPr>
      <a:lvl2pPr marL="471470" indent="-214305" algn="l" defTabSz="1088667" rtl="0" eaLnBrk="1" latinLnBrk="0" hangingPunct="1">
        <a:spcBef>
          <a:spcPts val="0"/>
        </a:spcBef>
        <a:buFont typeface="Arial" pitchFamily="34" charset="0"/>
        <a:buChar char="–"/>
        <a:defRPr sz="12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2pPr>
      <a:lvl3pPr marL="728635" indent="-214305" algn="l" defTabSz="1088667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3pPr>
      <a:lvl4pPr marL="985801" indent="-214305" algn="l" defTabSz="1088667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4pPr>
      <a:lvl5pPr marL="1242967" indent="-214305" algn="l" defTabSz="1088667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5pPr>
      <a:lvl6pPr marL="2993835" indent="-272166" algn="l" defTabSz="1088667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8167" indent="-272166" algn="l" defTabSz="1088667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2501" indent="-272166" algn="l" defTabSz="1088667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6835" indent="-272166" algn="l" defTabSz="1088667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334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667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3001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7334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667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6001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10335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4668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60.png"/><Relationship Id="rId4" Type="http://schemas.openxmlformats.org/officeDocument/2006/relationships/customXml" Target="../ink/ink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20.svg"/><Relationship Id="rId7" Type="http://schemas.openxmlformats.org/officeDocument/2006/relationships/diagramColors" Target="../diagrams/colors3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5BC6D1-6AF5-3CCA-73C2-1687CB1FC7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err="1"/>
              <a:t>Prompt</a:t>
            </a:r>
            <a:r>
              <a:rPr lang="pl-PL"/>
              <a:t> Engineering 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0CC6F2-54ED-0FF8-B8F3-608CC02D0E6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l-PL"/>
              <a:t>Software Development 3.0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D62F62-0500-DBC9-CF70-3427C61CFE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/>
              <a:t>Jakub Gajda, Chief IT Developer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8422E2-9D9E-4468-1D35-852E1A2EC8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23.10.2023</a:t>
            </a:r>
          </a:p>
        </p:txBody>
      </p:sp>
    </p:spTree>
    <p:extLst>
      <p:ext uri="{BB962C8B-B14F-4D97-AF65-F5344CB8AC3E}">
        <p14:creationId xmlns:p14="http://schemas.microsoft.com/office/powerpoint/2010/main" val="28937885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58ECA3-D4B9-1A8F-BC9E-E49E6A29DC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8000" y="6375018"/>
            <a:ext cx="324000" cy="144033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986206E-8722-B746-901D-E11776288D95}" type="slidenum">
              <a:rPr lang="pl-PL" smtClean="0"/>
              <a:pPr>
                <a:spcAft>
                  <a:spcPts val="600"/>
                </a:spcAft>
              </a:pPr>
              <a:t>10</a:t>
            </a:fld>
            <a:endParaRPr lang="pl-P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159643-FE44-FA4E-5415-A34BEAD7C6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7298" y="1483566"/>
            <a:ext cx="6485483" cy="4076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8845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AB2BC8-16ED-76C0-DB6B-E66A88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8000" y="6375018"/>
            <a:ext cx="324000" cy="144033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986206E-8722-B746-901D-E11776288D95}" type="slidenum">
              <a:rPr lang="pl-PL" smtClean="0"/>
              <a:pPr>
                <a:spcAft>
                  <a:spcPts val="600"/>
                </a:spcAft>
              </a:pPr>
              <a:t>11</a:t>
            </a:fld>
            <a:endParaRPr lang="pl-P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7C68A8-EEC1-0B69-26C7-0170F12548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360083"/>
            <a:ext cx="7200000" cy="720167"/>
          </a:xfrm>
        </p:spPr>
        <p:txBody>
          <a:bodyPr anchor="b">
            <a:normAutofit/>
          </a:bodyPr>
          <a:lstStyle/>
          <a:p>
            <a:r>
              <a:rPr lang="pl-PL" dirty="0"/>
              <a:t>Model </a:t>
            </a:r>
            <a:r>
              <a:rPr lang="pl-PL" dirty="0" err="1"/>
              <a:t>Autoregrersyjny</a:t>
            </a:r>
            <a:r>
              <a:rPr lang="pl-PL" dirty="0"/>
              <a:t> architektura </a:t>
            </a:r>
            <a:r>
              <a:rPr lang="pl-PL" dirty="0" err="1"/>
              <a:t>transformers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970AEEF-C505-4098-E3CA-A0DB7B9269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9404" y="1461202"/>
            <a:ext cx="3334483" cy="4698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4438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A53B6E35-D3E7-9455-F126-0C9CA2368C3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104448" y="2362747"/>
            <a:ext cx="304871" cy="304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61" tIns="45731" rIns="91461" bIns="45731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4E98247B-9ABA-276D-739D-5B189D8A339F}"/>
              </a:ext>
            </a:extLst>
          </p:cNvPr>
          <p:cNvGraphicFramePr>
            <a:graphicFrameLocks noGrp="1"/>
          </p:cNvGraphicFramePr>
          <p:nvPr/>
        </p:nvGraphicFramePr>
        <p:xfrm>
          <a:off x="1099557" y="1551296"/>
          <a:ext cx="3344338" cy="29270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44338">
                  <a:extLst>
                    <a:ext uri="{9D8B030D-6E8A-4147-A177-3AD203B41FA5}">
                      <a16:colId xmlns:a16="http://schemas.microsoft.com/office/drawing/2014/main" val="2486866794"/>
                    </a:ext>
                  </a:extLst>
                </a:gridCol>
              </a:tblGrid>
              <a:tr h="731766">
                <a:tc>
                  <a:txBody>
                    <a:bodyPr/>
                    <a:lstStyle/>
                    <a:p>
                      <a:r>
                        <a:rPr lang="pl-PL" sz="2100"/>
                        <a:t>Model </a:t>
                      </a:r>
                      <a:r>
                        <a:rPr lang="pl-PL" sz="2100" err="1"/>
                        <a:t>size</a:t>
                      </a:r>
                      <a:r>
                        <a:rPr lang="pl-PL" sz="2100"/>
                        <a:t> (</a:t>
                      </a:r>
                      <a:r>
                        <a:rPr lang="pl-PL" sz="2100" err="1"/>
                        <a:t>paramteres</a:t>
                      </a:r>
                      <a:r>
                        <a:rPr lang="pl-PL" sz="2100"/>
                        <a:t>)</a:t>
                      </a:r>
                    </a:p>
                  </a:txBody>
                  <a:tcPr marL="91461" marR="91461" marT="45731" marB="45731"/>
                </a:tc>
                <a:extLst>
                  <a:ext uri="{0D108BD9-81ED-4DB2-BD59-A6C34878D82A}">
                    <a16:rowId xmlns:a16="http://schemas.microsoft.com/office/drawing/2014/main" val="672433490"/>
                  </a:ext>
                </a:extLst>
              </a:tr>
              <a:tr h="731766">
                <a:tc>
                  <a:txBody>
                    <a:bodyPr/>
                    <a:lstStyle/>
                    <a:p>
                      <a:r>
                        <a:rPr lang="pl-PL" sz="2100"/>
                        <a:t>7B</a:t>
                      </a:r>
                    </a:p>
                  </a:txBody>
                  <a:tcPr marL="91461" marR="91461" marT="45731" marB="45731"/>
                </a:tc>
                <a:extLst>
                  <a:ext uri="{0D108BD9-81ED-4DB2-BD59-A6C34878D82A}">
                    <a16:rowId xmlns:a16="http://schemas.microsoft.com/office/drawing/2014/main" val="1947333601"/>
                  </a:ext>
                </a:extLst>
              </a:tr>
              <a:tr h="731766">
                <a:tc>
                  <a:txBody>
                    <a:bodyPr/>
                    <a:lstStyle/>
                    <a:p>
                      <a:r>
                        <a:rPr lang="pl-PL" sz="2100"/>
                        <a:t>13B</a:t>
                      </a:r>
                    </a:p>
                  </a:txBody>
                  <a:tcPr marL="91461" marR="91461" marT="45731" marB="45731"/>
                </a:tc>
                <a:extLst>
                  <a:ext uri="{0D108BD9-81ED-4DB2-BD59-A6C34878D82A}">
                    <a16:rowId xmlns:a16="http://schemas.microsoft.com/office/drawing/2014/main" val="3078037641"/>
                  </a:ext>
                </a:extLst>
              </a:tr>
              <a:tr h="731766">
                <a:tc>
                  <a:txBody>
                    <a:bodyPr/>
                    <a:lstStyle/>
                    <a:p>
                      <a:r>
                        <a:rPr lang="pl-PL" sz="2100"/>
                        <a:t>70B</a:t>
                      </a:r>
                    </a:p>
                  </a:txBody>
                  <a:tcPr marL="91461" marR="91461" marT="45731" marB="45731"/>
                </a:tc>
                <a:extLst>
                  <a:ext uri="{0D108BD9-81ED-4DB2-BD59-A6C34878D82A}">
                    <a16:rowId xmlns:a16="http://schemas.microsoft.com/office/drawing/2014/main" val="997602998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E8C2E5-493C-A017-2B69-0455F9686809}"/>
              </a:ext>
            </a:extLst>
          </p:cNvPr>
          <p:cNvSpPr txBox="1"/>
          <p:nvPr/>
        </p:nvSpPr>
        <p:spPr>
          <a:xfrm>
            <a:off x="1598437" y="1181879"/>
            <a:ext cx="2198763" cy="415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err="1"/>
              <a:t>Llama</a:t>
            </a:r>
            <a:r>
              <a:rPr lang="pl-PL"/>
              <a:t> 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5CC1A92-308D-432B-32C2-7EAB55BFB3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0025" y="1435988"/>
            <a:ext cx="4713224" cy="3576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5802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BF70EB4A-FD0E-680B-D0CA-C484BB4B47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err="1"/>
              <a:t>Prompt</a:t>
            </a:r>
            <a:r>
              <a:rPr lang="pl-PL"/>
              <a:t> Engineering (inżynieria poleceń)</a:t>
            </a: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FB87033F-8E9C-7C63-F30D-C57746EB6A75}"/>
              </a:ext>
            </a:extLst>
          </p:cNvPr>
          <p:cNvSpPr/>
          <p:nvPr/>
        </p:nvSpPr>
        <p:spPr>
          <a:xfrm>
            <a:off x="838570" y="2834048"/>
            <a:ext cx="1511909" cy="147457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400"/>
              <a:t>Zaprojektuj co potrzebujesz</a:t>
            </a: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672018E1-5DAD-B398-B62E-6539C57A5549}"/>
              </a:ext>
            </a:extLst>
          </p:cNvPr>
          <p:cNvSpPr/>
          <p:nvPr/>
        </p:nvSpPr>
        <p:spPr>
          <a:xfrm>
            <a:off x="3587849" y="2834049"/>
            <a:ext cx="1511909" cy="147457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Sformułuj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08EE824E-40AE-82A5-85B4-1F560BAB6DDF}"/>
              </a:ext>
            </a:extLst>
          </p:cNvPr>
          <p:cNvSpPr/>
          <p:nvPr/>
        </p:nvSpPr>
        <p:spPr>
          <a:xfrm>
            <a:off x="9086405" y="2834046"/>
            <a:ext cx="1511909" cy="1474578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Dostosuj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1D1BD8DB-186C-F3C5-9B12-4205104E4C38}"/>
              </a:ext>
            </a:extLst>
          </p:cNvPr>
          <p:cNvSpPr/>
          <p:nvPr/>
        </p:nvSpPr>
        <p:spPr>
          <a:xfrm>
            <a:off x="6337127" y="2834047"/>
            <a:ext cx="1511909" cy="147457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Zapytaj</a:t>
            </a:r>
          </a:p>
        </p:txBody>
      </p:sp>
      <p:cxnSp>
        <p:nvCxnSpPr>
          <p:cNvPr id="9" name="Łącznik prosty ze strzałką 8">
            <a:extLst>
              <a:ext uri="{FF2B5EF4-FFF2-40B4-BE49-F238E27FC236}">
                <a16:creationId xmlns:a16="http://schemas.microsoft.com/office/drawing/2014/main" id="{76E11F57-B7E7-4BFA-D790-5623BA7D03CD}"/>
              </a:ext>
            </a:extLst>
          </p:cNvPr>
          <p:cNvCxnSpPr>
            <a:stCxn id="4" idx="3"/>
            <a:endCxn id="5" idx="1"/>
          </p:cNvCxnSpPr>
          <p:nvPr/>
        </p:nvCxnSpPr>
        <p:spPr>
          <a:xfrm>
            <a:off x="2350479" y="3571337"/>
            <a:ext cx="1237369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Łącznik prosty ze strzałką 10">
            <a:extLst>
              <a:ext uri="{FF2B5EF4-FFF2-40B4-BE49-F238E27FC236}">
                <a16:creationId xmlns:a16="http://schemas.microsoft.com/office/drawing/2014/main" id="{ABEB1E26-A090-D3AD-15D0-767F97D2B04D}"/>
              </a:ext>
            </a:extLst>
          </p:cNvPr>
          <p:cNvCxnSpPr>
            <a:stCxn id="5" idx="3"/>
            <a:endCxn id="7" idx="1"/>
          </p:cNvCxnSpPr>
          <p:nvPr/>
        </p:nvCxnSpPr>
        <p:spPr>
          <a:xfrm flipV="1">
            <a:off x="5099758" y="3571336"/>
            <a:ext cx="1237369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Łącznik prosty ze strzałką 12">
            <a:extLst>
              <a:ext uri="{FF2B5EF4-FFF2-40B4-BE49-F238E27FC236}">
                <a16:creationId xmlns:a16="http://schemas.microsoft.com/office/drawing/2014/main" id="{189F3B73-2B69-DFC0-3F8B-65CEA1518038}"/>
              </a:ext>
            </a:extLst>
          </p:cNvPr>
          <p:cNvCxnSpPr>
            <a:stCxn id="7" idx="3"/>
            <a:endCxn id="6" idx="1"/>
          </p:cNvCxnSpPr>
          <p:nvPr/>
        </p:nvCxnSpPr>
        <p:spPr>
          <a:xfrm flipV="1">
            <a:off x="7849036" y="3571335"/>
            <a:ext cx="1237369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56193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ole tekstowe 3">
            <a:extLst>
              <a:ext uri="{FF2B5EF4-FFF2-40B4-BE49-F238E27FC236}">
                <a16:creationId xmlns:a16="http://schemas.microsoft.com/office/drawing/2014/main" id="{C68DF4D2-5F7C-AD75-66A1-27FAF62A40BF}"/>
              </a:ext>
            </a:extLst>
          </p:cNvPr>
          <p:cNvSpPr txBox="1"/>
          <p:nvPr/>
        </p:nvSpPr>
        <p:spPr>
          <a:xfrm>
            <a:off x="1132940" y="894085"/>
            <a:ext cx="5306849" cy="76957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l-PL" sz="2000" b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Jaka jest wartość Pi ?</a:t>
            </a:r>
            <a:r>
              <a:rPr lang="pl-PL" sz="4401" b="1"/>
              <a:t> </a:t>
            </a: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6183E191-BF32-0467-E5EC-D32EFBF366AA}"/>
              </a:ext>
            </a:extLst>
          </p:cNvPr>
          <p:cNvSpPr txBox="1"/>
          <p:nvPr/>
        </p:nvSpPr>
        <p:spPr>
          <a:xfrm>
            <a:off x="1565749" y="2418849"/>
            <a:ext cx="8532488" cy="304769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pl-PL" sz="3200"/>
              <a:t>Wartość liczby Pi to około 3,14159. Jest to liczba niewymierna, co oznacza, że nie można jej przedstawić jako ułamek. Pi jest stosunkiem obwodu okręgu do jego średnicy </a:t>
            </a:r>
            <a:br>
              <a:rPr lang="pl-PL" sz="3200"/>
            </a:br>
            <a:r>
              <a:rPr lang="pl-PL" sz="3200"/>
              <a:t>i jest jedną z najważniejszych i najbardziej znanych liczb w matematyce. </a:t>
            </a:r>
            <a:endParaRPr lang="pl-PL" sz="3201"/>
          </a:p>
        </p:txBody>
      </p:sp>
    </p:spTree>
    <p:extLst>
      <p:ext uri="{BB962C8B-B14F-4D97-AF65-F5344CB8AC3E}">
        <p14:creationId xmlns:p14="http://schemas.microsoft.com/office/powerpoint/2010/main" val="20621789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C7524D2-9142-2FB9-F60A-0CE76A7293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Anatomia </a:t>
            </a:r>
            <a:r>
              <a:rPr lang="pl-PL" err="1"/>
              <a:t>prompt’a</a:t>
            </a:r>
            <a:endParaRPr lang="pl-PL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D73AFC82-93FB-1872-B3AD-B170873A9A8D}"/>
              </a:ext>
            </a:extLst>
          </p:cNvPr>
          <p:cNvGraphicFramePr/>
          <p:nvPr/>
        </p:nvGraphicFramePr>
        <p:xfrm>
          <a:off x="2332332" y="1483911"/>
          <a:ext cx="7530511" cy="49171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474623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0904DB9-3804-6EDA-85FF-31BC24645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Jeszcze raz o liczbie PI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07BE6522-6D0A-6AB0-936C-6282A20C0A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pl-PL" b="1">
                <a:solidFill>
                  <a:schemeClr val="accent2"/>
                </a:solidFill>
              </a:rPr>
              <a:t>Jesteś asystentem naukowca.</a:t>
            </a:r>
          </a:p>
          <a:p>
            <a:pPr marL="0" indent="0">
              <a:buNone/>
            </a:pPr>
            <a:r>
              <a:rPr lang="pl-PL">
                <a:solidFill>
                  <a:schemeClr val="accent6"/>
                </a:solidFill>
              </a:rPr>
              <a:t>Twoim zadaniem jest pokazać mi liczbę PI. Interesuje mnie tylko liczba PI nie generuj dodatkowego tekstu.</a:t>
            </a:r>
            <a:endParaRPr lang="pl-PL" dirty="0">
              <a:solidFill>
                <a:schemeClr val="accent6"/>
              </a:solidFill>
              <a:cs typeface="Arial"/>
            </a:endParaRPr>
          </a:p>
          <a:p>
            <a:pPr marL="0" indent="0">
              <a:buNone/>
            </a:pPr>
            <a:r>
              <a:rPr lang="pl-PL" dirty="0">
                <a:solidFill>
                  <a:srgbClr val="0000A0"/>
                </a:solidFill>
              </a:rPr>
              <a:t>Oczekiwany format:</a:t>
            </a:r>
            <a:endParaRPr lang="pl-PL" dirty="0">
              <a:solidFill>
                <a:srgbClr val="0000A0"/>
              </a:solidFill>
              <a:cs typeface="Arial"/>
            </a:endParaRPr>
          </a:p>
          <a:p>
            <a:pPr marL="0" indent="0">
              <a:buNone/>
            </a:pPr>
            <a:r>
              <a:rPr lang="pl-PL" dirty="0">
                <a:solidFill>
                  <a:srgbClr val="0000A0"/>
                </a:solidFill>
              </a:rPr>
              <a:t>PI = liczba PI</a:t>
            </a:r>
            <a:endParaRPr lang="pl-PL" dirty="0">
              <a:solidFill>
                <a:srgbClr val="0000A0"/>
              </a:solidFill>
              <a:cs typeface="Arial"/>
            </a:endParaRPr>
          </a:p>
          <a:p>
            <a:pPr marL="0" indent="0">
              <a:buNone/>
            </a:pPr>
            <a:endParaRPr lang="pl-PL"/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65E8043C-10FF-4DB2-6DC6-300874AB8AE2}"/>
              </a:ext>
            </a:extLst>
          </p:cNvPr>
          <p:cNvSpPr txBox="1"/>
          <p:nvPr/>
        </p:nvSpPr>
        <p:spPr>
          <a:xfrm>
            <a:off x="411850" y="4006578"/>
            <a:ext cx="11721962" cy="5849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600"/>
              <a:t>PI = 3.1415926535897932384626433832795028841971693993751058209749445923078164062862089986280348253421170679</a:t>
            </a:r>
          </a:p>
        </p:txBody>
      </p:sp>
    </p:spTree>
    <p:extLst>
      <p:ext uri="{BB962C8B-B14F-4D97-AF65-F5344CB8AC3E}">
        <p14:creationId xmlns:p14="http://schemas.microsoft.com/office/powerpoint/2010/main" val="42217035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350EE0E-8330-7E43-A9EE-FDACE57E9A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5472" y="365210"/>
            <a:ext cx="4841130" cy="1807723"/>
          </a:xfrm>
        </p:spPr>
        <p:txBody>
          <a:bodyPr>
            <a:normAutofit/>
          </a:bodyPr>
          <a:lstStyle/>
          <a:p>
            <a:r>
              <a:rPr lang="pl-PL"/>
              <a:t>Ważny aspekt </a:t>
            </a:r>
          </a:p>
        </p:txBody>
      </p:sp>
      <p:pic>
        <p:nvPicPr>
          <p:cNvPr id="5" name="Picture 4" descr="Foropter">
            <a:extLst>
              <a:ext uri="{FF2B5EF4-FFF2-40B4-BE49-F238E27FC236}">
                <a16:creationId xmlns:a16="http://schemas.microsoft.com/office/drawing/2014/main" id="{82833EFA-BCA2-EFBC-5318-03EA649878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245" r="7220" b="-1"/>
          <a:stretch/>
        </p:blipFill>
        <p:spPr>
          <a:xfrm>
            <a:off x="196" y="11"/>
            <a:ext cx="6117965" cy="6859577"/>
          </a:xfrm>
          <a:custGeom>
            <a:avLst/>
            <a:gdLst/>
            <a:ahLst/>
            <a:cxnLst/>
            <a:rect l="l" t="t" r="r" b="b"/>
            <a:pathLst>
              <a:path w="6116569" h="6879321">
                <a:moveTo>
                  <a:pt x="0" y="0"/>
                </a:moveTo>
                <a:lnTo>
                  <a:pt x="2935851" y="0"/>
                </a:lnTo>
                <a:cubicBezTo>
                  <a:pt x="3035710" y="10660"/>
                  <a:pt x="3138421" y="17767"/>
                  <a:pt x="3238280" y="31980"/>
                </a:cubicBezTo>
                <a:cubicBezTo>
                  <a:pt x="3817462" y="106602"/>
                  <a:pt x="3127009" y="277163"/>
                  <a:pt x="3660541" y="550772"/>
                </a:cubicBezTo>
                <a:cubicBezTo>
                  <a:pt x="3706191" y="575645"/>
                  <a:pt x="3757546" y="579199"/>
                  <a:pt x="3808902" y="589860"/>
                </a:cubicBezTo>
                <a:cubicBezTo>
                  <a:pt x="4008620" y="625393"/>
                  <a:pt x="4211192" y="618286"/>
                  <a:pt x="4413762" y="625393"/>
                </a:cubicBezTo>
                <a:cubicBezTo>
                  <a:pt x="4465118" y="628946"/>
                  <a:pt x="4525033" y="625393"/>
                  <a:pt x="4567830" y="721333"/>
                </a:cubicBezTo>
                <a:cubicBezTo>
                  <a:pt x="4425175" y="724888"/>
                  <a:pt x="4305344" y="731994"/>
                  <a:pt x="4171247" y="792401"/>
                </a:cubicBezTo>
                <a:cubicBezTo>
                  <a:pt x="4239722" y="859916"/>
                  <a:pt x="4322462" y="795955"/>
                  <a:pt x="4376671" y="842148"/>
                </a:cubicBezTo>
                <a:cubicBezTo>
                  <a:pt x="4428027" y="888342"/>
                  <a:pt x="4470824" y="891896"/>
                  <a:pt x="4527887" y="813722"/>
                </a:cubicBezTo>
                <a:cubicBezTo>
                  <a:pt x="4556417" y="774634"/>
                  <a:pt x="4604920" y="778187"/>
                  <a:pt x="4633452" y="799508"/>
                </a:cubicBezTo>
                <a:cubicBezTo>
                  <a:pt x="4781813" y="913216"/>
                  <a:pt x="4778960" y="909662"/>
                  <a:pt x="4947293" y="870576"/>
                </a:cubicBezTo>
                <a:cubicBezTo>
                  <a:pt x="5055712" y="845701"/>
                  <a:pt x="5166983" y="806615"/>
                  <a:pt x="5263988" y="820828"/>
                </a:cubicBezTo>
                <a:cubicBezTo>
                  <a:pt x="5275401" y="867022"/>
                  <a:pt x="5263988" y="888342"/>
                  <a:pt x="5249723" y="895449"/>
                </a:cubicBezTo>
                <a:cubicBezTo>
                  <a:pt x="5021475" y="1005604"/>
                  <a:pt x="4975825" y="1122864"/>
                  <a:pt x="4744723" y="1197485"/>
                </a:cubicBezTo>
                <a:cubicBezTo>
                  <a:pt x="4724751" y="1268552"/>
                  <a:pt x="4807491" y="1275660"/>
                  <a:pt x="4767548" y="1346727"/>
                </a:cubicBezTo>
                <a:cubicBezTo>
                  <a:pt x="4693367" y="1407134"/>
                  <a:pt x="4610627" y="1346727"/>
                  <a:pt x="4539299" y="1421348"/>
                </a:cubicBezTo>
                <a:cubicBezTo>
                  <a:pt x="4550712" y="1471094"/>
                  <a:pt x="4610627" y="1432008"/>
                  <a:pt x="4607773" y="1485309"/>
                </a:cubicBezTo>
                <a:cubicBezTo>
                  <a:pt x="4604920" y="1517288"/>
                  <a:pt x="4593508" y="1527948"/>
                  <a:pt x="4579242" y="1535055"/>
                </a:cubicBezTo>
                <a:cubicBezTo>
                  <a:pt x="4776107" y="1538608"/>
                  <a:pt x="5383820" y="1574142"/>
                  <a:pt x="5278255" y="1609676"/>
                </a:cubicBezTo>
                <a:cubicBezTo>
                  <a:pt x="5418057" y="1698511"/>
                  <a:pt x="5623481" y="1609676"/>
                  <a:pt x="5771843" y="1630997"/>
                </a:cubicBezTo>
                <a:cubicBezTo>
                  <a:pt x="5925911" y="1652316"/>
                  <a:pt x="6171278" y="1719830"/>
                  <a:pt x="6105656" y="1748257"/>
                </a:cubicBezTo>
                <a:cubicBezTo>
                  <a:pt x="6031475" y="1780238"/>
                  <a:pt x="5766136" y="2146235"/>
                  <a:pt x="5691955" y="2167555"/>
                </a:cubicBezTo>
                <a:cubicBezTo>
                  <a:pt x="5606362" y="2188875"/>
                  <a:pt x="5589243" y="2217302"/>
                  <a:pt x="5475118" y="2348776"/>
                </a:cubicBezTo>
                <a:cubicBezTo>
                  <a:pt x="5398085" y="2437610"/>
                  <a:pt x="5709074" y="2238623"/>
                  <a:pt x="5826051" y="2291922"/>
                </a:cubicBezTo>
                <a:cubicBezTo>
                  <a:pt x="5868848" y="2309690"/>
                  <a:pt x="5552153" y="2554872"/>
                  <a:pt x="5552153" y="2597513"/>
                </a:cubicBezTo>
                <a:cubicBezTo>
                  <a:pt x="5549300" y="2640153"/>
                  <a:pt x="5577831" y="2647260"/>
                  <a:pt x="5603508" y="2647260"/>
                </a:cubicBezTo>
                <a:cubicBezTo>
                  <a:pt x="5660571" y="2647260"/>
                  <a:pt x="5640599" y="2686346"/>
                  <a:pt x="5700515" y="2679240"/>
                </a:cubicBezTo>
                <a:cubicBezTo>
                  <a:pt x="5523622" y="2800055"/>
                  <a:pt x="5418057" y="2778734"/>
                  <a:pt x="5246870" y="2888889"/>
                </a:cubicBezTo>
                <a:cubicBezTo>
                  <a:pt x="5164130" y="2942189"/>
                  <a:pt x="4921615" y="3119857"/>
                  <a:pt x="4836022" y="3169605"/>
                </a:cubicBezTo>
                <a:cubicBezTo>
                  <a:pt x="4801785" y="3187371"/>
                  <a:pt x="4758988" y="3173158"/>
                  <a:pt x="4736163" y="3233565"/>
                </a:cubicBezTo>
                <a:cubicBezTo>
                  <a:pt x="4770400" y="3279759"/>
                  <a:pt x="4816050" y="3254885"/>
                  <a:pt x="4853141" y="3233565"/>
                </a:cubicBezTo>
                <a:cubicBezTo>
                  <a:pt x="4944440" y="3176711"/>
                  <a:pt x="4935881" y="3190925"/>
                  <a:pt x="4944440" y="3226459"/>
                </a:cubicBezTo>
                <a:cubicBezTo>
                  <a:pt x="4972972" y="3350827"/>
                  <a:pt x="5044300" y="3308186"/>
                  <a:pt x="5109921" y="3283313"/>
                </a:cubicBezTo>
                <a:cubicBezTo>
                  <a:pt x="5303932" y="3208692"/>
                  <a:pt x="5500797" y="3215799"/>
                  <a:pt x="5694809" y="3141178"/>
                </a:cubicBezTo>
                <a:cubicBezTo>
                  <a:pt x="5714781" y="3134070"/>
                  <a:pt x="5612068" y="3283313"/>
                  <a:pt x="5566419" y="3301079"/>
                </a:cubicBezTo>
                <a:cubicBezTo>
                  <a:pt x="5515063" y="3322399"/>
                  <a:pt x="5452294" y="3311739"/>
                  <a:pt x="5415203" y="3397020"/>
                </a:cubicBezTo>
                <a:cubicBezTo>
                  <a:pt x="5477972" y="3414787"/>
                  <a:pt x="5552153" y="3372147"/>
                  <a:pt x="5612068" y="3432554"/>
                </a:cubicBezTo>
                <a:cubicBezTo>
                  <a:pt x="5469413" y="3528494"/>
                  <a:pt x="5329610" y="3535601"/>
                  <a:pt x="5206927" y="3599562"/>
                </a:cubicBezTo>
                <a:cubicBezTo>
                  <a:pt x="5192661" y="3706163"/>
                  <a:pt x="5272548" y="3663523"/>
                  <a:pt x="5301079" y="3723930"/>
                </a:cubicBezTo>
                <a:cubicBezTo>
                  <a:pt x="5072830" y="3844745"/>
                  <a:pt x="4564977" y="4232062"/>
                  <a:pt x="4507915" y="4306683"/>
                </a:cubicBezTo>
                <a:cubicBezTo>
                  <a:pt x="4390937" y="4463031"/>
                  <a:pt x="3900202" y="4562525"/>
                  <a:pt x="3982942" y="4587399"/>
                </a:cubicBezTo>
                <a:cubicBezTo>
                  <a:pt x="4051417" y="4608719"/>
                  <a:pt x="4119891" y="4587399"/>
                  <a:pt x="4185513" y="4541205"/>
                </a:cubicBezTo>
                <a:cubicBezTo>
                  <a:pt x="4291078" y="4466584"/>
                  <a:pt x="5010062" y="4523438"/>
                  <a:pt x="5212633" y="4455924"/>
                </a:cubicBezTo>
                <a:cubicBezTo>
                  <a:pt x="5241164" y="4445264"/>
                  <a:pt x="5283960" y="4409730"/>
                  <a:pt x="5312492" y="4473691"/>
                </a:cubicBezTo>
                <a:cubicBezTo>
                  <a:pt x="5098508" y="4704659"/>
                  <a:pt x="4833169" y="4654913"/>
                  <a:pt x="4596361" y="4818368"/>
                </a:cubicBezTo>
                <a:cubicBezTo>
                  <a:pt x="4684807" y="4917861"/>
                  <a:pt x="4776107" y="4907202"/>
                  <a:pt x="4873113" y="4885882"/>
                </a:cubicBezTo>
                <a:cubicBezTo>
                  <a:pt x="4895938" y="4878775"/>
                  <a:pt x="4930175" y="4871668"/>
                  <a:pt x="4935881" y="4914309"/>
                </a:cubicBezTo>
                <a:cubicBezTo>
                  <a:pt x="4941587" y="4967609"/>
                  <a:pt x="4898790" y="4978270"/>
                  <a:pt x="4873113" y="5003143"/>
                </a:cubicBezTo>
                <a:cubicBezTo>
                  <a:pt x="4833169" y="5038676"/>
                  <a:pt x="4773254" y="4999590"/>
                  <a:pt x="4721898" y="5095530"/>
                </a:cubicBezTo>
                <a:cubicBezTo>
                  <a:pt x="4873113" y="5067104"/>
                  <a:pt x="4998650" y="5020910"/>
                  <a:pt x="5132745" y="4949842"/>
                </a:cubicBezTo>
                <a:cubicBezTo>
                  <a:pt x="5121333" y="5006696"/>
                  <a:pt x="5081390" y="5035123"/>
                  <a:pt x="5101362" y="5081317"/>
                </a:cubicBezTo>
                <a:cubicBezTo>
                  <a:pt x="5118480" y="5116850"/>
                  <a:pt x="5164130" y="5131063"/>
                  <a:pt x="5138452" y="5198578"/>
                </a:cubicBezTo>
                <a:cubicBezTo>
                  <a:pt x="5067125" y="5273199"/>
                  <a:pt x="4967265" y="5258986"/>
                  <a:pt x="4904497" y="5362033"/>
                </a:cubicBezTo>
                <a:cubicBezTo>
                  <a:pt x="4818903" y="5507721"/>
                  <a:pt x="4684807" y="5564575"/>
                  <a:pt x="4579242" y="5674729"/>
                </a:cubicBezTo>
                <a:cubicBezTo>
                  <a:pt x="4545005" y="5713816"/>
                  <a:pt x="4313903" y="5841738"/>
                  <a:pt x="4253988" y="5884379"/>
                </a:cubicBezTo>
                <a:cubicBezTo>
                  <a:pt x="4168395" y="5944786"/>
                  <a:pt x="4071389" y="5966106"/>
                  <a:pt x="3985795" y="6069153"/>
                </a:cubicBezTo>
                <a:cubicBezTo>
                  <a:pt x="4065682" y="6086921"/>
                  <a:pt x="4134157" y="5990979"/>
                  <a:pt x="4231163" y="6030066"/>
                </a:cubicBezTo>
                <a:cubicBezTo>
                  <a:pt x="4074242" y="6133114"/>
                  <a:pt x="3931586" y="6182861"/>
                  <a:pt x="3814609" y="6317889"/>
                </a:cubicBezTo>
                <a:cubicBezTo>
                  <a:pt x="3800343" y="6335656"/>
                  <a:pt x="3771812" y="6332102"/>
                  <a:pt x="3751840" y="6339209"/>
                </a:cubicBezTo>
                <a:cubicBezTo>
                  <a:pt x="3529298" y="6406723"/>
                  <a:pt x="3309608" y="6467130"/>
                  <a:pt x="3089919" y="6563071"/>
                </a:cubicBezTo>
                <a:cubicBezTo>
                  <a:pt x="3041416" y="6584392"/>
                  <a:pt x="2955823" y="6595052"/>
                  <a:pt x="2961529" y="6662566"/>
                </a:cubicBezTo>
                <a:cubicBezTo>
                  <a:pt x="2972941" y="6765613"/>
                  <a:pt x="3055681" y="6687439"/>
                  <a:pt x="3107038" y="6673226"/>
                </a:cubicBezTo>
                <a:cubicBezTo>
                  <a:pt x="3269664" y="6634138"/>
                  <a:pt x="3432292" y="6570178"/>
                  <a:pt x="3594919" y="6591499"/>
                </a:cubicBezTo>
                <a:cubicBezTo>
                  <a:pt x="3483648" y="6637693"/>
                  <a:pt x="3372376" y="6680332"/>
                  <a:pt x="3261106" y="6726527"/>
                </a:cubicBezTo>
                <a:cubicBezTo>
                  <a:pt x="3386642" y="6705206"/>
                  <a:pt x="3495061" y="6786934"/>
                  <a:pt x="3620597" y="6740740"/>
                </a:cubicBezTo>
                <a:cubicBezTo>
                  <a:pt x="3660541" y="6726527"/>
                  <a:pt x="3700484" y="6765613"/>
                  <a:pt x="3703337" y="6826020"/>
                </a:cubicBezTo>
                <a:cubicBezTo>
                  <a:pt x="3706191" y="6847340"/>
                  <a:pt x="3700484" y="6865108"/>
                  <a:pt x="3689072" y="6879321"/>
                </a:cubicBezTo>
                <a:lnTo>
                  <a:pt x="0" y="6879321"/>
                </a:lnTo>
                <a:close/>
              </a:path>
            </a:pathLst>
          </a:custGeom>
        </p:spPr>
      </p:pic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08590E57-5F52-4FE2-E520-34FB98E2C2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15472" y="2333837"/>
            <a:ext cx="4841130" cy="3844556"/>
          </a:xfrm>
        </p:spPr>
        <p:txBody>
          <a:bodyPr vert="horz" lIns="0" tIns="0" rIns="0" bIns="0" rtlCol="0" anchor="t">
            <a:normAutofit/>
          </a:bodyPr>
          <a:lstStyle/>
          <a:p>
            <a:pPr marL="215265" indent="-215265"/>
            <a:r>
              <a:rPr lang="pl-PL" sz="4800"/>
              <a:t>Precyzyjne formułowanie </a:t>
            </a:r>
            <a:r>
              <a:rPr lang="pl-PL" sz="4800">
                <a:solidFill>
                  <a:schemeClr val="accent6"/>
                </a:solidFill>
              </a:rPr>
              <a:t>instrukcji</a:t>
            </a:r>
            <a:r>
              <a:rPr lang="pl-PL" sz="4800"/>
              <a:t> i </a:t>
            </a:r>
            <a:r>
              <a:rPr lang="pl-PL" sz="4800">
                <a:solidFill>
                  <a:schemeClr val="accent2"/>
                </a:solidFill>
              </a:rPr>
              <a:t>formatu</a:t>
            </a:r>
            <a:r>
              <a:rPr lang="pl-PL" sz="4800"/>
              <a:t> </a:t>
            </a:r>
            <a:endParaRPr lang="en-US"/>
          </a:p>
          <a:p>
            <a:pPr marL="0" indent="0">
              <a:buNone/>
            </a:pPr>
            <a:endParaRPr lang="pl-PL" sz="2000"/>
          </a:p>
        </p:txBody>
      </p:sp>
    </p:spTree>
    <p:extLst>
      <p:ext uri="{BB962C8B-B14F-4D97-AF65-F5344CB8AC3E}">
        <p14:creationId xmlns:p14="http://schemas.microsoft.com/office/powerpoint/2010/main" val="3576231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98FEF79-B8E5-F3AB-F6E3-09E5BB4B5F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Input (</a:t>
            </a:r>
            <a:r>
              <a:rPr lang="pl-PL" err="1"/>
              <a:t>Context</a:t>
            </a:r>
            <a:r>
              <a:rPr lang="pl-PL"/>
              <a:t>)</a:t>
            </a:r>
          </a:p>
        </p:txBody>
      </p:sp>
      <p:pic>
        <p:nvPicPr>
          <p:cNvPr id="7" name="Obraz 6" descr="Obraz zawierający tekst, Strona internetowa, oprogramowanie, Reklama internetowa&#10;&#10;Opis wygenerowany automatycznie">
            <a:extLst>
              <a:ext uri="{FF2B5EF4-FFF2-40B4-BE49-F238E27FC236}">
                <a16:creationId xmlns:a16="http://schemas.microsoft.com/office/drawing/2014/main" id="{D0EF474D-D845-3B78-E405-2005B2D078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89161" y="1478144"/>
            <a:ext cx="7774199" cy="4858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6027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ADB0D96B-FF83-4D9D-4DE7-68631F1B8F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Zapytajmy</a:t>
            </a:r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90CAB060-B50B-5D1D-82C0-32AA93C8DA70}"/>
              </a:ext>
            </a:extLst>
          </p:cNvPr>
          <p:cNvSpPr txBox="1"/>
          <p:nvPr/>
        </p:nvSpPr>
        <p:spPr>
          <a:xfrm>
            <a:off x="634805" y="1692619"/>
            <a:ext cx="5368676" cy="267827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pl-PL">
                <a:solidFill>
                  <a:schemeClr val="accent2"/>
                </a:solidFill>
              </a:rPr>
              <a:t>Jesteś moim asystentem </a:t>
            </a:r>
            <a:r>
              <a:rPr lang="pl-PL">
                <a:solidFill>
                  <a:schemeClr val="accent6"/>
                </a:solidFill>
              </a:rPr>
              <a:t>chcę żebyś pomógł mi podsumować tą firmę z tymi danymi </a:t>
            </a:r>
            <a:r>
              <a:rPr lang="pl-PL"/>
              <a:t>:</a:t>
            </a:r>
          </a:p>
          <a:p>
            <a:r>
              <a:rPr lang="pl-PL">
                <a:solidFill>
                  <a:schemeClr val="accent1"/>
                </a:solidFill>
              </a:rPr>
              <a:t>[Input]</a:t>
            </a:r>
            <a:endParaRPr lang="pl-PL" dirty="0">
              <a:solidFill>
                <a:schemeClr val="accent1"/>
              </a:solidFill>
              <a:cs typeface="Arial"/>
            </a:endParaRPr>
          </a:p>
          <a:p>
            <a:r>
              <a:rPr lang="pl-PL" dirty="0">
                <a:solidFill>
                  <a:srgbClr val="0000A0"/>
                </a:solidFill>
              </a:rPr>
              <a:t>Interesuje mnie :</a:t>
            </a:r>
            <a:endParaRPr lang="pl-PL" dirty="0">
              <a:solidFill>
                <a:srgbClr val="0000A0"/>
              </a:solidFill>
              <a:cs typeface="Arial"/>
            </a:endParaRPr>
          </a:p>
          <a:p>
            <a:r>
              <a:rPr lang="pl-PL" dirty="0">
                <a:solidFill>
                  <a:srgbClr val="0000A0"/>
                </a:solidFill>
              </a:rPr>
              <a:t>1. Czy firma pracuje w Polsce ?</a:t>
            </a:r>
            <a:endParaRPr lang="pl-PL" dirty="0">
              <a:solidFill>
                <a:srgbClr val="0000A0"/>
              </a:solidFill>
              <a:cs typeface="Arial"/>
            </a:endParaRPr>
          </a:p>
          <a:p>
            <a:r>
              <a:rPr lang="pl-PL" dirty="0">
                <a:solidFill>
                  <a:srgbClr val="0000A0"/>
                </a:solidFill>
              </a:rPr>
              <a:t>2. Ile lat jest na polskim rynku ?</a:t>
            </a:r>
            <a:endParaRPr lang="pl-PL" dirty="0">
              <a:solidFill>
                <a:srgbClr val="0000A0"/>
              </a:solidFill>
              <a:cs typeface="Arial"/>
            </a:endParaRPr>
          </a:p>
          <a:p>
            <a:r>
              <a:rPr lang="pl-PL" dirty="0">
                <a:solidFill>
                  <a:srgbClr val="0000A0"/>
                </a:solidFill>
              </a:rPr>
              <a:t>3. Czy dobrze się tam pracuje ?</a:t>
            </a:r>
            <a:endParaRPr lang="pl-PL" dirty="0">
              <a:solidFill>
                <a:srgbClr val="0000A0"/>
              </a:solidFill>
              <a:cs typeface="Arial"/>
            </a:endParaRPr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D9ED52CE-6B8B-C22D-E8A6-5D1716F5CC45}"/>
              </a:ext>
            </a:extLst>
          </p:cNvPr>
          <p:cNvSpPr txBox="1"/>
          <p:nvPr/>
        </p:nvSpPr>
        <p:spPr>
          <a:xfrm>
            <a:off x="5913265" y="615963"/>
            <a:ext cx="5278461" cy="45253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900">
                <a:solidFill>
                  <a:schemeClr val="accent1"/>
                </a:solidFill>
              </a:rPr>
              <a:t>Nordea Bank – nordycka grupa bankowa działająca na terenie Europy Północnej, mająca swoją siedzibę w Helsinkach.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>
                <a:solidFill>
                  <a:schemeClr val="accent1"/>
                </a:solidFill>
              </a:rPr>
              <a:t>Bank powstał wskutek połączenia się fińskiego banku Merita Bank, szwedzkiego </a:t>
            </a:r>
            <a:r>
              <a:rPr lang="pl-PL" sz="900" err="1">
                <a:solidFill>
                  <a:schemeClr val="accent1"/>
                </a:solidFill>
              </a:rPr>
              <a:t>Nordbanken</a:t>
            </a:r>
            <a:r>
              <a:rPr lang="pl-PL" sz="900">
                <a:solidFill>
                  <a:schemeClr val="accent1"/>
                </a:solidFill>
              </a:rPr>
              <a:t>, duńskiego Unibanku oraz norweskiego Christiania Bank. Połączenia wszystkich banków rozpoczęły się w 1997 roku, a plan połączeniowy zakończył się na początku 2000 roku. Akcje Nordea Bank notowane są na giełdach papierów wartościowych w Sztokholmie, Helsinkach oraz Kopenhadze.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>
                <a:solidFill>
                  <a:schemeClr val="accent1"/>
                </a:solidFill>
              </a:rPr>
              <a:t>Grupa Nordea posiada łącznie ponad 700 oddziałów w 16 krajach świata i zatrudnia ponad 32 000 pracowników[1]. Nordea oprócz swojej siedziby w Sztokholmie posiada regionalne siedziby oraz przedstawicielstwa w Londynie, Nowym Jorku, Szanghaju, Frankfurcie, Singapurze oraz Luksemburgu.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>
                <a:solidFill>
                  <a:schemeClr val="accent1"/>
                </a:solidFill>
              </a:rPr>
              <a:t>Bank Nordea pod koniec 2016 roku zrzeszał kapitał ponad 10 milionów klientów prywatnych oraz 0,5 miliona przedsiębiorstw. Bank posiada swój własny bank internetowy zrzeszający ponad 5,2 miliona klientów[2] i dokonujący ponad 200 milionów operacji rocznie.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>
                <a:solidFill>
                  <a:schemeClr val="accent1"/>
                </a:solidFill>
              </a:rPr>
              <a:t>Nordea w Polsce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>
                <a:solidFill>
                  <a:schemeClr val="accent1"/>
                </a:solidFill>
              </a:rPr>
              <a:t>Biura banku w Warszawie (2020)</a:t>
            </a:r>
          </a:p>
          <a:p>
            <a:r>
              <a:rPr lang="pl-PL" sz="900">
                <a:solidFill>
                  <a:schemeClr val="accent1"/>
                </a:solidFill>
              </a:rPr>
              <a:t>Od 2010 roku Nordea reprezentowana jest w Polsce przez Nordea Bank ABP SA Oddział w Polsce z siedzibą w Łodzi[3]. W Gdańsku, Gdyni i Warszawie funkcjonują centra operacyjne i IT banku zajmujące się obsługą procesów bankowych[4].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>
                <a:solidFill>
                  <a:schemeClr val="accent1"/>
                </a:solidFill>
              </a:rPr>
              <a:t>Wcześniej, w latach od 1999 roku do 2014 roku grupa Nordea posiadała następujące spółki i firmy zależne w Polsce: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>
                <a:solidFill>
                  <a:schemeClr val="accent1"/>
                </a:solidFill>
              </a:rPr>
              <a:t>Nordea Bank Polska S.A. (powstały na bazie m.in. BWP-Unibank S.A.)</a:t>
            </a:r>
          </a:p>
          <a:p>
            <a:r>
              <a:rPr lang="pl-PL" sz="900">
                <a:solidFill>
                  <a:schemeClr val="accent1"/>
                </a:solidFill>
              </a:rPr>
              <a:t>Nordea Polska Towarzystwo Ubezpieczeń na Życie S.A.</a:t>
            </a:r>
          </a:p>
          <a:p>
            <a:r>
              <a:rPr lang="pl-PL" sz="900">
                <a:solidFill>
                  <a:schemeClr val="accent1"/>
                </a:solidFill>
              </a:rPr>
              <a:t>Nordea Powszechne Towarzystwo Emerytalne S.A. i Nordea Otwarty Fundusz Emerytalny</a:t>
            </a:r>
          </a:p>
          <a:p>
            <a:r>
              <a:rPr lang="pl-PL" sz="900">
                <a:solidFill>
                  <a:schemeClr val="accent1"/>
                </a:solidFill>
              </a:rPr>
              <a:t>Nordea Finance Polska S.A.</a:t>
            </a:r>
          </a:p>
          <a:p>
            <a:r>
              <a:rPr lang="pl-PL" sz="900">
                <a:solidFill>
                  <a:schemeClr val="accent1"/>
                </a:solidFill>
              </a:rPr>
              <a:t>Akcje powyższych spółek nabył PKO Bank Polski.</a:t>
            </a:r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1923C20C-49EC-F668-EF80-0C8534FF06D9}"/>
              </a:ext>
            </a:extLst>
          </p:cNvPr>
          <p:cNvSpPr txBox="1"/>
          <p:nvPr/>
        </p:nvSpPr>
        <p:spPr>
          <a:xfrm>
            <a:off x="325074" y="4381958"/>
            <a:ext cx="5588190" cy="15700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/>
              <a:t>Odpowiedzi na twoje pytania:</a:t>
            </a:r>
          </a:p>
          <a:p>
            <a:r>
              <a:rPr lang="pl-PL" sz="1200"/>
              <a:t>1. Tak, firma </a:t>
            </a:r>
            <a:r>
              <a:rPr lang="pl-PL" sz="1200" err="1"/>
              <a:t>Nordea</a:t>
            </a:r>
            <a:r>
              <a:rPr lang="pl-PL" sz="1200"/>
              <a:t> Bank działa w Polsce.</a:t>
            </a:r>
          </a:p>
          <a:p>
            <a:r>
              <a:rPr lang="pl-PL" sz="1200"/>
              <a:t>2. Przedstawicielstwo </a:t>
            </a:r>
            <a:r>
              <a:rPr lang="pl-PL" sz="1200" err="1"/>
              <a:t>Nordea</a:t>
            </a:r>
            <a:r>
              <a:rPr lang="pl-PL" sz="1200"/>
              <a:t> Bank ABP SA Oddział w Polsce z siedzibą w Łodzi jest obecne na polskim rynku od 2010 roku.</a:t>
            </a:r>
          </a:p>
          <a:p>
            <a:r>
              <a:rPr lang="pl-PL" sz="1200"/>
              <a:t>3. Jeśli chodzi o to, czy dobrze się tam pracuje, to nie posiadam wystarczających informacji do udzielenia pełnej odpowiedzi. Być może warto skonsultować się z pracownikami lub znaleźć opinie na temat atmosfery pracy w </a:t>
            </a:r>
            <a:r>
              <a:rPr lang="pl-PL" sz="1200" err="1"/>
              <a:t>Nordea</a:t>
            </a:r>
            <a:r>
              <a:rPr lang="pl-PL" sz="1200"/>
              <a:t> Bank w Polsce.</a:t>
            </a:r>
          </a:p>
        </p:txBody>
      </p:sp>
    </p:spTree>
    <p:extLst>
      <p:ext uri="{BB962C8B-B14F-4D97-AF65-F5344CB8AC3E}">
        <p14:creationId xmlns:p14="http://schemas.microsoft.com/office/powerpoint/2010/main" val="26738169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D302AEA-309D-A91E-67ED-235FFDADE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9164" y="640228"/>
            <a:ext cx="6252557" cy="3566986"/>
          </a:xfrm>
        </p:spPr>
        <p:txBody>
          <a:bodyPr vert="horz" lIns="91461" tIns="45731" rIns="91461" bIns="45731" rtlCol="0" anchor="b" anchorCtr="0">
            <a:normAutofit/>
          </a:bodyPr>
          <a:lstStyle/>
          <a:p>
            <a:r>
              <a:rPr lang="pl-PL" sz="5401" dirty="0" err="1"/>
              <a:t>About</a:t>
            </a:r>
            <a:r>
              <a:rPr lang="pl-PL" sz="5401" dirty="0"/>
              <a:t> me</a:t>
            </a:r>
            <a:endParaRPr lang="en-US" sz="5401" dirty="0"/>
          </a:p>
        </p:txBody>
      </p:sp>
      <p:pic>
        <p:nvPicPr>
          <p:cNvPr id="9" name="Obraz 8" descr="Obraz zawierający osoba, na wolnym powietrzu, pies, ubrania&#10;&#10;Opis wygenerowany automatycznie">
            <a:extLst>
              <a:ext uri="{FF2B5EF4-FFF2-40B4-BE49-F238E27FC236}">
                <a16:creationId xmlns:a16="http://schemas.microsoft.com/office/drawing/2014/main" id="{37047F8F-F91D-D63A-5938-205CD40A817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92" r="7560"/>
          <a:stretch/>
        </p:blipFill>
        <p:spPr>
          <a:xfrm>
            <a:off x="177" y="11"/>
            <a:ext cx="4658422" cy="6859577"/>
          </a:xfrm>
          <a:custGeom>
            <a:avLst/>
            <a:gdLst/>
            <a:ahLst/>
            <a:cxnLst/>
            <a:rect l="l" t="t" r="r" b="b"/>
            <a:pathLst>
              <a:path w="4657344" h="6858000">
                <a:moveTo>
                  <a:pt x="0" y="0"/>
                </a:moveTo>
                <a:lnTo>
                  <a:pt x="3429755" y="0"/>
                </a:lnTo>
                <a:lnTo>
                  <a:pt x="3526016" y="148742"/>
                </a:lnTo>
                <a:cubicBezTo>
                  <a:pt x="3657740" y="365513"/>
                  <a:pt x="3777402" y="589569"/>
                  <a:pt x="3886489" y="819975"/>
                </a:cubicBezTo>
                <a:cubicBezTo>
                  <a:pt x="3891856" y="833492"/>
                  <a:pt x="3900663" y="845393"/>
                  <a:pt x="3912049" y="854514"/>
                </a:cubicBezTo>
                <a:cubicBezTo>
                  <a:pt x="3897352" y="819849"/>
                  <a:pt x="3883037" y="784928"/>
                  <a:pt x="3868083" y="750263"/>
                </a:cubicBezTo>
                <a:cubicBezTo>
                  <a:pt x="3806989" y="608712"/>
                  <a:pt x="3742478" y="469145"/>
                  <a:pt x="3674155" y="331786"/>
                </a:cubicBezTo>
                <a:lnTo>
                  <a:pt x="3496656" y="0"/>
                </a:lnTo>
                <a:lnTo>
                  <a:pt x="3554371" y="0"/>
                </a:lnTo>
                <a:lnTo>
                  <a:pt x="3661621" y="196614"/>
                </a:lnTo>
                <a:cubicBezTo>
                  <a:pt x="3856899" y="573253"/>
                  <a:pt x="4021071" y="966066"/>
                  <a:pt x="4161279" y="1371196"/>
                </a:cubicBezTo>
                <a:cubicBezTo>
                  <a:pt x="4379525" y="2007265"/>
                  <a:pt x="4530141" y="2664286"/>
                  <a:pt x="4610660" y="3331516"/>
                </a:cubicBezTo>
                <a:cubicBezTo>
                  <a:pt x="4652837" y="3672965"/>
                  <a:pt x="4671625" y="4013908"/>
                  <a:pt x="4645040" y="4357388"/>
                </a:cubicBezTo>
                <a:cubicBezTo>
                  <a:pt x="4613599" y="4758899"/>
                  <a:pt x="4566181" y="5157998"/>
                  <a:pt x="4485789" y="5552906"/>
                </a:cubicBezTo>
                <a:cubicBezTo>
                  <a:pt x="4397121" y="5988893"/>
                  <a:pt x="4276748" y="6414594"/>
                  <a:pt x="4117769" y="6828295"/>
                </a:cubicBezTo>
                <a:lnTo>
                  <a:pt x="4105288" y="6858000"/>
                </a:lnTo>
                <a:lnTo>
                  <a:pt x="4052520" y="6858000"/>
                </a:lnTo>
                <a:lnTo>
                  <a:pt x="4059369" y="6841549"/>
                </a:lnTo>
                <a:cubicBezTo>
                  <a:pt x="4147276" y="6614016"/>
                  <a:pt x="4224193" y="6380817"/>
                  <a:pt x="4291518" y="6142729"/>
                </a:cubicBezTo>
                <a:cubicBezTo>
                  <a:pt x="4350055" y="5935370"/>
                  <a:pt x="4393256" y="5723695"/>
                  <a:pt x="4443357" y="5513923"/>
                </a:cubicBezTo>
                <a:cubicBezTo>
                  <a:pt x="4444541" y="5502788"/>
                  <a:pt x="4445137" y="5491601"/>
                  <a:pt x="4445146" y="5480401"/>
                </a:cubicBezTo>
                <a:cubicBezTo>
                  <a:pt x="4408465" y="5607635"/>
                  <a:pt x="4379196" y="5719759"/>
                  <a:pt x="4344559" y="5830359"/>
                </a:cubicBezTo>
                <a:cubicBezTo>
                  <a:pt x="4254261" y="6118381"/>
                  <a:pt x="4150112" y="6398531"/>
                  <a:pt x="4031702" y="6670527"/>
                </a:cubicBezTo>
                <a:lnTo>
                  <a:pt x="3943824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86143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AEAC286C-3501-7FB4-B584-1E1857C810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242" y="327879"/>
            <a:ext cx="10518034" cy="1325870"/>
          </a:xfrm>
        </p:spPr>
        <p:txBody>
          <a:bodyPr/>
          <a:lstStyle/>
          <a:p>
            <a:r>
              <a:rPr lang="pl-PL"/>
              <a:t>Inna metoda</a:t>
            </a:r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0FED2971-64D0-FFA6-2877-2E9E7941A50E}"/>
              </a:ext>
            </a:extLst>
          </p:cNvPr>
          <p:cNvSpPr txBox="1"/>
          <p:nvPr/>
        </p:nvSpPr>
        <p:spPr>
          <a:xfrm>
            <a:off x="250605" y="1653748"/>
            <a:ext cx="6098965" cy="300151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pl-PL">
                <a:solidFill>
                  <a:schemeClr val="accent2"/>
                </a:solidFill>
              </a:rPr>
              <a:t>Jesteś moim asystentem </a:t>
            </a:r>
            <a:r>
              <a:rPr lang="pl-PL">
                <a:solidFill>
                  <a:schemeClr val="accent6"/>
                </a:solidFill>
              </a:rPr>
              <a:t>chcę żebyś pomógł mi podsumować tą firmę z tymi danymi </a:t>
            </a:r>
            <a:r>
              <a:rPr lang="pl-PL"/>
              <a:t>:</a:t>
            </a:r>
          </a:p>
          <a:p>
            <a:r>
              <a:rPr lang="pl-PL" dirty="0">
                <a:solidFill>
                  <a:srgbClr val="0000A0"/>
                </a:solidFill>
              </a:rPr>
              <a:t>Interesuje mnie :</a:t>
            </a:r>
            <a:endParaRPr lang="pl-PL" dirty="0">
              <a:solidFill>
                <a:srgbClr val="0000A0"/>
              </a:solidFill>
              <a:cs typeface="Arial"/>
            </a:endParaRPr>
          </a:p>
          <a:p>
            <a:r>
              <a:rPr lang="pl-PL" dirty="0">
                <a:solidFill>
                  <a:srgbClr val="0000A0"/>
                </a:solidFill>
              </a:rPr>
              <a:t>1. Czy firma pracuje w Polsce ?</a:t>
            </a:r>
            <a:endParaRPr lang="pl-PL" dirty="0">
              <a:solidFill>
                <a:srgbClr val="0000A0"/>
              </a:solidFill>
              <a:cs typeface="Arial"/>
            </a:endParaRPr>
          </a:p>
          <a:p>
            <a:r>
              <a:rPr lang="pl-PL" dirty="0">
                <a:solidFill>
                  <a:srgbClr val="0000A0"/>
                </a:solidFill>
              </a:rPr>
              <a:t>2. Ile lat jest na polskim rynku ?</a:t>
            </a:r>
            <a:endParaRPr lang="pl-PL" dirty="0">
              <a:solidFill>
                <a:srgbClr val="0000A0"/>
              </a:solidFill>
              <a:cs typeface="Arial"/>
            </a:endParaRPr>
          </a:p>
          <a:p>
            <a:r>
              <a:rPr lang="pl-PL" dirty="0">
                <a:solidFill>
                  <a:srgbClr val="0000A0"/>
                </a:solidFill>
              </a:rPr>
              <a:t>3. Czy dobrze się tam pracuje ?</a:t>
            </a:r>
            <a:endParaRPr lang="pl-PL" dirty="0">
              <a:solidFill>
                <a:srgbClr val="0000A0"/>
              </a:solidFill>
              <a:cs typeface="Arial"/>
            </a:endParaRPr>
          </a:p>
          <a:p>
            <a:endParaRPr lang="pl-PL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r>
              <a:rPr lang="pl-PL"/>
              <a:t>####</a:t>
            </a:r>
            <a:endParaRPr lang="pl-PL" dirty="0">
              <a:cs typeface="Arial"/>
            </a:endParaRPr>
          </a:p>
          <a:p>
            <a:r>
              <a:rPr lang="pl-PL">
                <a:solidFill>
                  <a:schemeClr val="accent1"/>
                </a:solidFill>
              </a:rPr>
              <a:t>[Input]</a:t>
            </a:r>
            <a:endParaRPr lang="pl-PL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F3515970-C04C-1CB9-1332-E7493828B7B7}"/>
              </a:ext>
            </a:extLst>
          </p:cNvPr>
          <p:cNvSpPr txBox="1"/>
          <p:nvPr/>
        </p:nvSpPr>
        <p:spPr>
          <a:xfrm>
            <a:off x="6479454" y="990813"/>
            <a:ext cx="5278461" cy="45253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Bank – nordycka grupa bankowa działająca na terenie Europy Północnej, mająca swoją siedzibę w Helsinkach.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>
                <a:solidFill>
                  <a:schemeClr val="accent1"/>
                </a:solidFill>
              </a:rPr>
              <a:t>Bank powstał wskutek połączenia się fińskiego banku Merita Bank, szwedzkiego </a:t>
            </a:r>
            <a:r>
              <a:rPr lang="pl-PL" sz="900" err="1">
                <a:solidFill>
                  <a:schemeClr val="accent1"/>
                </a:solidFill>
              </a:rPr>
              <a:t>Nordbanken</a:t>
            </a:r>
            <a:r>
              <a:rPr lang="pl-PL" sz="900">
                <a:solidFill>
                  <a:schemeClr val="accent1"/>
                </a:solidFill>
              </a:rPr>
              <a:t>, duńskiego Unibanku oraz norweskiego Christiania Bank. Połączenia wszystkich banków rozpoczęły się w 1997 roku, a plan połączeniowy zakończył się na początku 2000 roku. Akcje </a:t>
            </a:r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Bank notowane są na giełdach papierów wartościowych w Sztokholmie, Helsinkach oraz Kopenhadze.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>
                <a:solidFill>
                  <a:schemeClr val="accent1"/>
                </a:solidFill>
              </a:rPr>
              <a:t>Grupa </a:t>
            </a:r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posiada łącznie ponad 700 oddziałów w 16 krajach świata i zatrudnia ponad 32 000 pracowników[1]. </a:t>
            </a:r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oprócz swojej siedziby w Sztokholmie posiada regionalne siedziby oraz przedstawicielstwa w Londynie, Nowym Jorku, Szanghaju, Frankfurcie, Singapurze oraz Luksemburgu.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>
                <a:solidFill>
                  <a:schemeClr val="accent1"/>
                </a:solidFill>
              </a:rPr>
              <a:t>Bank </a:t>
            </a:r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pod koniec 2016 roku zrzeszał kapitał ponad 10 milionów klientów prywatnych oraz 0,5 miliona przedsiębiorstw. Bank posiada swój własny bank internetowy zrzeszający ponad 5,2 miliona klientów[2] i dokonujący ponad 200 milionów operacji rocznie.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w Polsce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>
                <a:solidFill>
                  <a:schemeClr val="accent1"/>
                </a:solidFill>
              </a:rPr>
              <a:t>Biura banku w Warszawie (2020)</a:t>
            </a:r>
          </a:p>
          <a:p>
            <a:r>
              <a:rPr lang="pl-PL" sz="900">
                <a:solidFill>
                  <a:schemeClr val="accent1"/>
                </a:solidFill>
              </a:rPr>
              <a:t>Od 2010 roku </a:t>
            </a:r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reprezentowana jest w Polsce przez </a:t>
            </a:r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Bank ABP SA Oddział w Polsce z siedzibą w Łodzi[3]. W Gdańsku, Gdyni i Warszawie funkcjonują centra operacyjne i IT banku zajmujące się obsługą procesów bankowych[4].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>
                <a:solidFill>
                  <a:schemeClr val="accent1"/>
                </a:solidFill>
              </a:rPr>
              <a:t>Wcześniej, w latach od 1999 roku do 2014 roku grupa </a:t>
            </a:r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posiadała następujące spółki i firmy zależne w Polsce: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Bank Polska S.A. (powstały na bazie m.in. BWP-Unibank S.A.)</a:t>
            </a:r>
          </a:p>
          <a:p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Polska Towarzystwo Ubezpieczeń na Życie S.A.</a:t>
            </a:r>
          </a:p>
          <a:p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Powszechne Towarzystwo Emerytalne S.A. i </a:t>
            </a:r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Otwarty Fundusz Emerytalny</a:t>
            </a:r>
          </a:p>
          <a:p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Finance Polska S.A.</a:t>
            </a:r>
          </a:p>
          <a:p>
            <a:r>
              <a:rPr lang="pl-PL" sz="900">
                <a:solidFill>
                  <a:schemeClr val="accent1"/>
                </a:solidFill>
              </a:rPr>
              <a:t>Akcje powyższych spółek nabył PKO Bank Polski.</a:t>
            </a:r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1F64FAE1-67B4-4410-66FC-16D58F283275}"/>
              </a:ext>
            </a:extLst>
          </p:cNvPr>
          <p:cNvSpPr txBox="1"/>
          <p:nvPr/>
        </p:nvSpPr>
        <p:spPr>
          <a:xfrm>
            <a:off x="250605" y="4684986"/>
            <a:ext cx="5588190" cy="15700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/>
              <a:t>Odpowiedzi na twoje pytania:</a:t>
            </a:r>
          </a:p>
          <a:p>
            <a:r>
              <a:rPr lang="pl-PL" sz="1200"/>
              <a:t>1. Tak, firma </a:t>
            </a:r>
            <a:r>
              <a:rPr lang="pl-PL" sz="1200" err="1"/>
              <a:t>Nordea</a:t>
            </a:r>
            <a:r>
              <a:rPr lang="pl-PL" sz="1200"/>
              <a:t> Bank działa w Polsce.</a:t>
            </a:r>
          </a:p>
          <a:p>
            <a:r>
              <a:rPr lang="pl-PL" sz="1200"/>
              <a:t>2. Przedstawicielstwo </a:t>
            </a:r>
            <a:r>
              <a:rPr lang="pl-PL" sz="1200" err="1"/>
              <a:t>Nordea</a:t>
            </a:r>
            <a:r>
              <a:rPr lang="pl-PL" sz="1200"/>
              <a:t> Bank ABP SA Oddział w Polsce z siedzibą w Łodzi jest obecne na polskim rynku od 2010 roku.</a:t>
            </a:r>
          </a:p>
          <a:p>
            <a:r>
              <a:rPr lang="pl-PL" sz="1200"/>
              <a:t>3. Jeśli chodzi o to, czy dobrze się tam pracuje, to nie posiadam wystarczających informacji do udzielenia pełnej odpowiedzi. Być może warto skonsultować się z pracownikami lub znaleźć opinie na temat atmosfery pracy w </a:t>
            </a:r>
            <a:r>
              <a:rPr lang="pl-PL" sz="1200" err="1"/>
              <a:t>Nordea</a:t>
            </a:r>
            <a:r>
              <a:rPr lang="pl-PL" sz="1200"/>
              <a:t> Bank w Polsce.</a:t>
            </a:r>
          </a:p>
        </p:txBody>
      </p:sp>
    </p:spTree>
    <p:extLst>
      <p:ext uri="{BB962C8B-B14F-4D97-AF65-F5344CB8AC3E}">
        <p14:creationId xmlns:p14="http://schemas.microsoft.com/office/powerpoint/2010/main" val="11847450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DC70D8F-0E2B-8F55-F087-768A5D9E69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Ekstrakcja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5673A6FD-5D07-DDE7-3C44-D69E8BF87D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570" y="1691079"/>
            <a:ext cx="3921320" cy="215402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sz="1800">
                <a:solidFill>
                  <a:schemeClr val="accent2"/>
                </a:solidFill>
              </a:rPr>
              <a:t>Jesteś moim asystentem tekstowym. </a:t>
            </a:r>
          </a:p>
          <a:p>
            <a:pPr marL="0" indent="0">
              <a:buNone/>
            </a:pPr>
            <a:r>
              <a:rPr lang="pl-PL" sz="1800">
                <a:solidFill>
                  <a:schemeClr val="accent6"/>
                </a:solidFill>
              </a:rPr>
              <a:t>Z podanego tekstu wyciągnij wszystkie ważne daty i miasta</a:t>
            </a:r>
            <a:endParaRPr lang="pl-PL" sz="1800"/>
          </a:p>
          <a:p>
            <a:pPr marL="0" indent="0">
              <a:buNone/>
            </a:pPr>
            <a:r>
              <a:rPr lang="pl-PL" sz="1800"/>
              <a:t>###</a:t>
            </a:r>
          </a:p>
          <a:p>
            <a:pPr marL="0" indent="0">
              <a:buNone/>
            </a:pPr>
            <a:r>
              <a:rPr lang="pl-PL" sz="1800"/>
              <a:t>{</a:t>
            </a:r>
            <a:r>
              <a:rPr lang="pl-PL" sz="1800" err="1"/>
              <a:t>input</a:t>
            </a:r>
            <a:r>
              <a:rPr lang="pl-PL" sz="1800"/>
              <a:t>}</a:t>
            </a: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577F73E6-D8D4-9ECA-7150-99F062465E6B}"/>
              </a:ext>
            </a:extLst>
          </p:cNvPr>
          <p:cNvSpPr txBox="1"/>
          <p:nvPr/>
        </p:nvSpPr>
        <p:spPr>
          <a:xfrm>
            <a:off x="6451456" y="944149"/>
            <a:ext cx="5278461" cy="45253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Bank – nordycka grupa bankowa działająca na terenie Europy Północnej, mająca swoją siedzibę w Helsinkach.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>
                <a:solidFill>
                  <a:schemeClr val="accent1"/>
                </a:solidFill>
              </a:rPr>
              <a:t>Bank powstał wskutek połączenia się fińskiego banku Merita Bank, szwedzkiego </a:t>
            </a:r>
            <a:r>
              <a:rPr lang="pl-PL" sz="900" err="1">
                <a:solidFill>
                  <a:schemeClr val="accent1"/>
                </a:solidFill>
              </a:rPr>
              <a:t>Nordbanken</a:t>
            </a:r>
            <a:r>
              <a:rPr lang="pl-PL" sz="900">
                <a:solidFill>
                  <a:schemeClr val="accent1"/>
                </a:solidFill>
              </a:rPr>
              <a:t>, duńskiego Unibanku oraz norweskiego Christiania Bank. Połączenia wszystkich banków rozpoczęły się w 1997 roku, a plan połączeniowy zakończył się na początku 2000 roku. Akcje </a:t>
            </a:r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Bank notowane są na giełdach papierów wartościowych w Sztokholmie, Helsinkach oraz Kopenhadze.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>
                <a:solidFill>
                  <a:schemeClr val="accent1"/>
                </a:solidFill>
              </a:rPr>
              <a:t>Grupa </a:t>
            </a:r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posiada łącznie ponad 700 oddziałów w 16 krajach świata i zatrudnia ponad 32 000 pracowników[1]. </a:t>
            </a:r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oprócz swojej siedziby w Sztokholmie posiada regionalne siedziby oraz przedstawicielstwa w Londynie, Nowym Jorku, Szanghaju, Frankfurcie, Singapurze oraz Luksemburgu.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>
                <a:solidFill>
                  <a:schemeClr val="accent1"/>
                </a:solidFill>
              </a:rPr>
              <a:t>Bank </a:t>
            </a:r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pod koniec 2016 roku zrzeszał kapitał ponad 10 milionów klientów prywatnych oraz 0,5 miliona przedsiębiorstw. Bank posiada swój własny bank internetowy zrzeszający ponad 5,2 miliona klientów[2] i dokonujący ponad 200 milionów operacji rocznie.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w Polsce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>
                <a:solidFill>
                  <a:schemeClr val="accent1"/>
                </a:solidFill>
              </a:rPr>
              <a:t>Biura banku w Warszawie (2020)</a:t>
            </a:r>
          </a:p>
          <a:p>
            <a:r>
              <a:rPr lang="pl-PL" sz="900">
                <a:solidFill>
                  <a:schemeClr val="accent1"/>
                </a:solidFill>
              </a:rPr>
              <a:t>Od 2010 roku </a:t>
            </a:r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reprezentowana jest w Polsce przez </a:t>
            </a:r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Bank ABP SA Oddział w Polsce z siedzibą w Łodzi[3]. W Gdańsku, Gdyni i Warszawie funkcjonują centra operacyjne i IT banku zajmujące się obsługą procesów bankowych[4].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>
                <a:solidFill>
                  <a:schemeClr val="accent1"/>
                </a:solidFill>
              </a:rPr>
              <a:t>Wcześniej, w latach od 1999 roku do 2014 roku grupa </a:t>
            </a:r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posiadała następujące spółki i firmy zależne w Polsce:</a:t>
            </a:r>
          </a:p>
          <a:p>
            <a:endParaRPr lang="pl-PL" sz="900">
              <a:solidFill>
                <a:schemeClr val="accent1"/>
              </a:solidFill>
            </a:endParaRPr>
          </a:p>
          <a:p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Bank Polska S.A. (powstały na bazie m.in. BWP-Unibank S.A.)</a:t>
            </a:r>
          </a:p>
          <a:p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Polska Towarzystwo Ubezpieczeń na Życie S.A.</a:t>
            </a:r>
          </a:p>
          <a:p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Powszechne Towarzystwo Emerytalne S.A. i </a:t>
            </a:r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Otwarty Fundusz Emerytalny</a:t>
            </a:r>
          </a:p>
          <a:p>
            <a:r>
              <a:rPr lang="pl-PL" sz="900" err="1">
                <a:solidFill>
                  <a:schemeClr val="accent1"/>
                </a:solidFill>
              </a:rPr>
              <a:t>Nordea</a:t>
            </a:r>
            <a:r>
              <a:rPr lang="pl-PL" sz="900">
                <a:solidFill>
                  <a:schemeClr val="accent1"/>
                </a:solidFill>
              </a:rPr>
              <a:t> Finance Polska S.A.</a:t>
            </a:r>
          </a:p>
          <a:p>
            <a:r>
              <a:rPr lang="pl-PL" sz="900">
                <a:solidFill>
                  <a:schemeClr val="accent1"/>
                </a:solidFill>
              </a:rPr>
              <a:t>Akcje powyższych spółek nabył PKO Bank Polski.</a:t>
            </a: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D684DF77-B126-6266-7964-74C43012F167}"/>
              </a:ext>
            </a:extLst>
          </p:cNvPr>
          <p:cNvSpPr txBox="1"/>
          <p:nvPr/>
        </p:nvSpPr>
        <p:spPr>
          <a:xfrm>
            <a:off x="838570" y="3583092"/>
            <a:ext cx="6098965" cy="31708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/>
              <a:t>Ważne daty: </a:t>
            </a:r>
          </a:p>
          <a:p>
            <a:r>
              <a:rPr lang="pl-PL" sz="1000"/>
              <a:t>- 1997 roku: rozpoczęcie połączenia banków</a:t>
            </a:r>
          </a:p>
          <a:p>
            <a:r>
              <a:rPr lang="pl-PL" sz="1000"/>
              <a:t>- początek 2000 roku: zakończenie planu połączeniowego</a:t>
            </a:r>
          </a:p>
          <a:p>
            <a:r>
              <a:rPr lang="pl-PL" sz="1000"/>
              <a:t>- koniec 2016 roku: </a:t>
            </a:r>
            <a:r>
              <a:rPr lang="pl-PL" sz="1000" err="1"/>
              <a:t>Nordea</a:t>
            </a:r>
            <a:r>
              <a:rPr lang="pl-PL" sz="1000"/>
              <a:t> zrzeszał ponad 10 milionów </a:t>
            </a:r>
          </a:p>
          <a:p>
            <a:r>
              <a:rPr lang="pl-PL" sz="1000"/>
              <a:t>klientów prywatnych oraz 0,5 miliona przedsiębiorstw</a:t>
            </a:r>
          </a:p>
          <a:p>
            <a:endParaRPr lang="pl-PL" sz="1000"/>
          </a:p>
          <a:p>
            <a:r>
              <a:rPr lang="pl-PL" sz="1000"/>
              <a:t>Ważne miasta:</a:t>
            </a:r>
          </a:p>
          <a:p>
            <a:r>
              <a:rPr lang="pl-PL" sz="1000"/>
              <a:t>- Sztokholm</a:t>
            </a:r>
          </a:p>
          <a:p>
            <a:r>
              <a:rPr lang="pl-PL" sz="1000"/>
              <a:t>- Helsinki</a:t>
            </a:r>
          </a:p>
          <a:p>
            <a:r>
              <a:rPr lang="pl-PL" sz="1000"/>
              <a:t>- Kopenhaga</a:t>
            </a:r>
          </a:p>
          <a:p>
            <a:r>
              <a:rPr lang="pl-PL" sz="1000"/>
              <a:t>- Łódź</a:t>
            </a:r>
          </a:p>
          <a:p>
            <a:r>
              <a:rPr lang="pl-PL" sz="1000"/>
              <a:t>- Warszawa</a:t>
            </a:r>
          </a:p>
          <a:p>
            <a:r>
              <a:rPr lang="pl-PL" sz="1000"/>
              <a:t>- Gdańsk</a:t>
            </a:r>
          </a:p>
          <a:p>
            <a:r>
              <a:rPr lang="pl-PL" sz="1000"/>
              <a:t>- Gdynia</a:t>
            </a:r>
          </a:p>
          <a:p>
            <a:r>
              <a:rPr lang="pl-PL" sz="1000"/>
              <a:t>- Londyn</a:t>
            </a:r>
          </a:p>
          <a:p>
            <a:r>
              <a:rPr lang="pl-PL" sz="1000"/>
              <a:t>- Nowy Jork</a:t>
            </a:r>
          </a:p>
          <a:p>
            <a:r>
              <a:rPr lang="pl-PL" sz="1000"/>
              <a:t>- Szanghaj</a:t>
            </a:r>
          </a:p>
          <a:p>
            <a:r>
              <a:rPr lang="pl-PL" sz="1000"/>
              <a:t>- Frankfurt</a:t>
            </a:r>
          </a:p>
          <a:p>
            <a:r>
              <a:rPr lang="pl-PL" sz="1000"/>
              <a:t>- Singapur</a:t>
            </a:r>
          </a:p>
          <a:p>
            <a:r>
              <a:rPr lang="pl-PL" sz="1000"/>
              <a:t>- Luksemburg</a:t>
            </a:r>
          </a:p>
        </p:txBody>
      </p:sp>
    </p:spTree>
    <p:extLst>
      <p:ext uri="{BB962C8B-B14F-4D97-AF65-F5344CB8AC3E}">
        <p14:creationId xmlns:p14="http://schemas.microsoft.com/office/powerpoint/2010/main" val="1217296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DC70D8F-0E2B-8F55-F087-768A5D9E69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Ekstrakcja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5673A6FD-5D07-DDE7-3C44-D69E8BF87D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570" y="1691079"/>
            <a:ext cx="3921320" cy="2154023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pl-PL" sz="1800">
                <a:solidFill>
                  <a:schemeClr val="accent2"/>
                </a:solidFill>
              </a:rPr>
              <a:t>Jesteś moim asystentem tekstowym. </a:t>
            </a:r>
          </a:p>
          <a:p>
            <a:pPr marL="0" indent="0">
              <a:buNone/>
            </a:pPr>
            <a:r>
              <a:rPr lang="pl-PL" sz="1800">
                <a:solidFill>
                  <a:schemeClr val="accent6"/>
                </a:solidFill>
              </a:rPr>
              <a:t>Z podanego tekstu wyciągnij wszystkie ważne daty i miasta</a:t>
            </a:r>
          </a:p>
          <a:p>
            <a:pPr marL="0" indent="0">
              <a:buNone/>
            </a:pPr>
            <a:r>
              <a:rPr lang="pl-PL" sz="1800">
                <a:solidFill>
                  <a:schemeClr val="accent6"/>
                </a:solidFill>
              </a:rPr>
              <a:t>Oczekiwany format</a:t>
            </a:r>
          </a:p>
          <a:p>
            <a:pPr marL="0" indent="0">
              <a:buNone/>
            </a:pPr>
            <a:r>
              <a:rPr lang="pl-PL" sz="1800"/>
              <a:t>Miasta: [Miasta]</a:t>
            </a:r>
          </a:p>
          <a:p>
            <a:pPr marL="0" indent="0">
              <a:buNone/>
            </a:pPr>
            <a:r>
              <a:rPr lang="pl-PL" sz="1800"/>
              <a:t>Data i fakt : [data] [fakt] </a:t>
            </a:r>
          </a:p>
          <a:p>
            <a:pPr marL="0" indent="0">
              <a:buNone/>
            </a:pPr>
            <a:r>
              <a:rPr lang="pl-PL" sz="1800"/>
              <a:t>###</a:t>
            </a:r>
          </a:p>
          <a:p>
            <a:pPr marL="0" indent="0">
              <a:buNone/>
            </a:pPr>
            <a:r>
              <a:rPr lang="pl-PL" sz="1800"/>
              <a:t>{</a:t>
            </a:r>
            <a:r>
              <a:rPr lang="pl-PL" sz="1800" err="1"/>
              <a:t>input</a:t>
            </a:r>
            <a:r>
              <a:rPr lang="pl-PL" sz="1800"/>
              <a:t>}</a:t>
            </a: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577F73E6-D8D4-9ECA-7150-99F062465E6B}"/>
              </a:ext>
            </a:extLst>
          </p:cNvPr>
          <p:cNvSpPr txBox="1"/>
          <p:nvPr/>
        </p:nvSpPr>
        <p:spPr>
          <a:xfrm>
            <a:off x="7503724" y="944149"/>
            <a:ext cx="4226192" cy="44022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800" err="1">
                <a:solidFill>
                  <a:schemeClr val="accent1"/>
                </a:solidFill>
              </a:rPr>
              <a:t>Nordea</a:t>
            </a:r>
            <a:r>
              <a:rPr lang="pl-PL" sz="800">
                <a:solidFill>
                  <a:schemeClr val="accent1"/>
                </a:solidFill>
              </a:rPr>
              <a:t> Bank – nordycka grupa bankowa działająca na terenie Europy Północnej, mająca swoją siedzibę w Helsinkach.</a:t>
            </a:r>
          </a:p>
          <a:p>
            <a:endParaRPr lang="pl-PL" sz="800">
              <a:solidFill>
                <a:schemeClr val="accent1"/>
              </a:solidFill>
            </a:endParaRPr>
          </a:p>
          <a:p>
            <a:r>
              <a:rPr lang="pl-PL" sz="800">
                <a:solidFill>
                  <a:schemeClr val="accent1"/>
                </a:solidFill>
              </a:rPr>
              <a:t>Bank powstał wskutek połączenia się fińskiego banku Merita Bank, szwedzkiego </a:t>
            </a:r>
            <a:r>
              <a:rPr lang="pl-PL" sz="800" err="1">
                <a:solidFill>
                  <a:schemeClr val="accent1"/>
                </a:solidFill>
              </a:rPr>
              <a:t>Nordbanken</a:t>
            </a:r>
            <a:r>
              <a:rPr lang="pl-PL" sz="800">
                <a:solidFill>
                  <a:schemeClr val="accent1"/>
                </a:solidFill>
              </a:rPr>
              <a:t>, duńskiego Unibanku oraz norweskiego Christiania Bank. Połączenia wszystkich banków rozpoczęły się w 1997 roku, a plan połączeniowy zakończył się na początku 2000 roku. Akcje </a:t>
            </a:r>
            <a:r>
              <a:rPr lang="pl-PL" sz="800" err="1">
                <a:solidFill>
                  <a:schemeClr val="accent1"/>
                </a:solidFill>
              </a:rPr>
              <a:t>Nordea</a:t>
            </a:r>
            <a:r>
              <a:rPr lang="pl-PL" sz="800">
                <a:solidFill>
                  <a:schemeClr val="accent1"/>
                </a:solidFill>
              </a:rPr>
              <a:t> Bank notowane są na giełdach papierów wartościowych w Sztokholmie, Helsinkach oraz Kopenhadze.</a:t>
            </a:r>
          </a:p>
          <a:p>
            <a:endParaRPr lang="pl-PL" sz="800">
              <a:solidFill>
                <a:schemeClr val="accent1"/>
              </a:solidFill>
            </a:endParaRPr>
          </a:p>
          <a:p>
            <a:r>
              <a:rPr lang="pl-PL" sz="800">
                <a:solidFill>
                  <a:schemeClr val="accent1"/>
                </a:solidFill>
              </a:rPr>
              <a:t>Grupa </a:t>
            </a:r>
            <a:r>
              <a:rPr lang="pl-PL" sz="800" err="1">
                <a:solidFill>
                  <a:schemeClr val="accent1"/>
                </a:solidFill>
              </a:rPr>
              <a:t>Nordea</a:t>
            </a:r>
            <a:r>
              <a:rPr lang="pl-PL" sz="800">
                <a:solidFill>
                  <a:schemeClr val="accent1"/>
                </a:solidFill>
              </a:rPr>
              <a:t> posiada łącznie ponad 700 oddziałów w 16 krajach świata i zatrudnia ponad 32 000 pracowników[1]. </a:t>
            </a:r>
            <a:r>
              <a:rPr lang="pl-PL" sz="800" err="1">
                <a:solidFill>
                  <a:schemeClr val="accent1"/>
                </a:solidFill>
              </a:rPr>
              <a:t>Nordea</a:t>
            </a:r>
            <a:r>
              <a:rPr lang="pl-PL" sz="800">
                <a:solidFill>
                  <a:schemeClr val="accent1"/>
                </a:solidFill>
              </a:rPr>
              <a:t> oprócz swojej siedziby w Sztokholmie posiada regionalne siedziby oraz przedstawicielstwa w Londynie, Nowym Jorku, Szanghaju, Frankfurcie, Singapurze oraz Luksemburgu.</a:t>
            </a:r>
          </a:p>
          <a:p>
            <a:endParaRPr lang="pl-PL" sz="800">
              <a:solidFill>
                <a:schemeClr val="accent1"/>
              </a:solidFill>
            </a:endParaRPr>
          </a:p>
          <a:p>
            <a:r>
              <a:rPr lang="pl-PL" sz="800">
                <a:solidFill>
                  <a:schemeClr val="accent1"/>
                </a:solidFill>
              </a:rPr>
              <a:t>Bank </a:t>
            </a:r>
            <a:r>
              <a:rPr lang="pl-PL" sz="800" err="1">
                <a:solidFill>
                  <a:schemeClr val="accent1"/>
                </a:solidFill>
              </a:rPr>
              <a:t>Nordea</a:t>
            </a:r>
            <a:r>
              <a:rPr lang="pl-PL" sz="800">
                <a:solidFill>
                  <a:schemeClr val="accent1"/>
                </a:solidFill>
              </a:rPr>
              <a:t> pod koniec 2016 roku zrzeszał kapitał ponad 10 milionów klientów prywatnych oraz 0,5 miliona przedsiębiorstw. Bank posiada swój własny bank internetowy zrzeszający ponad 5,2 miliona klientów[2] i dokonujący ponad 200 milionów operacji rocznie.</a:t>
            </a:r>
          </a:p>
          <a:p>
            <a:endParaRPr lang="pl-PL" sz="800">
              <a:solidFill>
                <a:schemeClr val="accent1"/>
              </a:solidFill>
            </a:endParaRPr>
          </a:p>
          <a:p>
            <a:r>
              <a:rPr lang="pl-PL" sz="800" err="1">
                <a:solidFill>
                  <a:schemeClr val="accent1"/>
                </a:solidFill>
              </a:rPr>
              <a:t>Nordea</a:t>
            </a:r>
            <a:r>
              <a:rPr lang="pl-PL" sz="800">
                <a:solidFill>
                  <a:schemeClr val="accent1"/>
                </a:solidFill>
              </a:rPr>
              <a:t> w Polsce</a:t>
            </a:r>
          </a:p>
          <a:p>
            <a:endParaRPr lang="pl-PL" sz="800">
              <a:solidFill>
                <a:schemeClr val="accent1"/>
              </a:solidFill>
            </a:endParaRPr>
          </a:p>
          <a:p>
            <a:r>
              <a:rPr lang="pl-PL" sz="800">
                <a:solidFill>
                  <a:schemeClr val="accent1"/>
                </a:solidFill>
              </a:rPr>
              <a:t>Biura banku w Warszawie (2020)</a:t>
            </a:r>
          </a:p>
          <a:p>
            <a:r>
              <a:rPr lang="pl-PL" sz="800">
                <a:solidFill>
                  <a:schemeClr val="accent1"/>
                </a:solidFill>
              </a:rPr>
              <a:t>Od 2010 roku </a:t>
            </a:r>
            <a:r>
              <a:rPr lang="pl-PL" sz="800" err="1">
                <a:solidFill>
                  <a:schemeClr val="accent1"/>
                </a:solidFill>
              </a:rPr>
              <a:t>Nordea</a:t>
            </a:r>
            <a:r>
              <a:rPr lang="pl-PL" sz="800">
                <a:solidFill>
                  <a:schemeClr val="accent1"/>
                </a:solidFill>
              </a:rPr>
              <a:t> reprezentowana jest w Polsce przez </a:t>
            </a:r>
            <a:r>
              <a:rPr lang="pl-PL" sz="800" err="1">
                <a:solidFill>
                  <a:schemeClr val="accent1"/>
                </a:solidFill>
              </a:rPr>
              <a:t>Nordea</a:t>
            </a:r>
            <a:r>
              <a:rPr lang="pl-PL" sz="800">
                <a:solidFill>
                  <a:schemeClr val="accent1"/>
                </a:solidFill>
              </a:rPr>
              <a:t> Bank ABP SA Oddział w Polsce z siedzibą w Łodzi[3]. W Gdańsku, Gdyni i Warszawie funkcjonują centra operacyjne i IT banku zajmujące się obsługą procesów bankowych[4].</a:t>
            </a:r>
          </a:p>
          <a:p>
            <a:endParaRPr lang="pl-PL" sz="800">
              <a:solidFill>
                <a:schemeClr val="accent1"/>
              </a:solidFill>
            </a:endParaRPr>
          </a:p>
          <a:p>
            <a:r>
              <a:rPr lang="pl-PL" sz="800">
                <a:solidFill>
                  <a:schemeClr val="accent1"/>
                </a:solidFill>
              </a:rPr>
              <a:t>Wcześniej, w latach od 1999 roku do 2014 roku grupa </a:t>
            </a:r>
            <a:r>
              <a:rPr lang="pl-PL" sz="800" err="1">
                <a:solidFill>
                  <a:schemeClr val="accent1"/>
                </a:solidFill>
              </a:rPr>
              <a:t>Nordea</a:t>
            </a:r>
            <a:r>
              <a:rPr lang="pl-PL" sz="800">
                <a:solidFill>
                  <a:schemeClr val="accent1"/>
                </a:solidFill>
              </a:rPr>
              <a:t> posiadała następujące spółki i firmy zależne w Polsce:</a:t>
            </a:r>
          </a:p>
          <a:p>
            <a:endParaRPr lang="pl-PL" sz="800">
              <a:solidFill>
                <a:schemeClr val="accent1"/>
              </a:solidFill>
            </a:endParaRPr>
          </a:p>
          <a:p>
            <a:r>
              <a:rPr lang="pl-PL" sz="800" err="1">
                <a:solidFill>
                  <a:schemeClr val="accent1"/>
                </a:solidFill>
              </a:rPr>
              <a:t>Nordea</a:t>
            </a:r>
            <a:r>
              <a:rPr lang="pl-PL" sz="800">
                <a:solidFill>
                  <a:schemeClr val="accent1"/>
                </a:solidFill>
              </a:rPr>
              <a:t> Bank Polska S.A. (powstały na bazie m.in. BWP-Unibank S.A.)</a:t>
            </a:r>
          </a:p>
          <a:p>
            <a:r>
              <a:rPr lang="pl-PL" sz="800" err="1">
                <a:solidFill>
                  <a:schemeClr val="accent1"/>
                </a:solidFill>
              </a:rPr>
              <a:t>Nordea</a:t>
            </a:r>
            <a:r>
              <a:rPr lang="pl-PL" sz="800">
                <a:solidFill>
                  <a:schemeClr val="accent1"/>
                </a:solidFill>
              </a:rPr>
              <a:t> Polska Towarzystwo Ubezpieczeń na Życie S.A.</a:t>
            </a:r>
          </a:p>
          <a:p>
            <a:r>
              <a:rPr lang="pl-PL" sz="800" err="1">
                <a:solidFill>
                  <a:schemeClr val="accent1"/>
                </a:solidFill>
              </a:rPr>
              <a:t>Nordea</a:t>
            </a:r>
            <a:r>
              <a:rPr lang="pl-PL" sz="800">
                <a:solidFill>
                  <a:schemeClr val="accent1"/>
                </a:solidFill>
              </a:rPr>
              <a:t> Powszechne Towarzystwo Emerytalne S.A. i </a:t>
            </a:r>
            <a:r>
              <a:rPr lang="pl-PL" sz="800" err="1">
                <a:solidFill>
                  <a:schemeClr val="accent1"/>
                </a:solidFill>
              </a:rPr>
              <a:t>Nordea</a:t>
            </a:r>
            <a:r>
              <a:rPr lang="pl-PL" sz="800">
                <a:solidFill>
                  <a:schemeClr val="accent1"/>
                </a:solidFill>
              </a:rPr>
              <a:t> Otwarty Fundusz Emerytalny</a:t>
            </a:r>
          </a:p>
          <a:p>
            <a:r>
              <a:rPr lang="pl-PL" sz="800" err="1">
                <a:solidFill>
                  <a:schemeClr val="accent1"/>
                </a:solidFill>
              </a:rPr>
              <a:t>Nordea</a:t>
            </a:r>
            <a:r>
              <a:rPr lang="pl-PL" sz="800">
                <a:solidFill>
                  <a:schemeClr val="accent1"/>
                </a:solidFill>
              </a:rPr>
              <a:t> Finance Polska S.A.</a:t>
            </a:r>
          </a:p>
          <a:p>
            <a:r>
              <a:rPr lang="pl-PL" sz="800">
                <a:solidFill>
                  <a:schemeClr val="accent1"/>
                </a:solidFill>
              </a:rPr>
              <a:t>Akcje powyższych spółek nabył PKO Bank Polski.</a:t>
            </a:r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23DB56BF-B961-65A2-284E-7B1538F0F3EE}"/>
              </a:ext>
            </a:extLst>
          </p:cNvPr>
          <p:cNvSpPr txBox="1"/>
          <p:nvPr/>
        </p:nvSpPr>
        <p:spPr>
          <a:xfrm>
            <a:off x="838570" y="4081410"/>
            <a:ext cx="5759877" cy="25551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600"/>
              <a:t>Miasta: Sztokholm, Helsinki, Kopenhaga, Londyn, Nowy Jork, </a:t>
            </a:r>
            <a:r>
              <a:rPr lang="pl-PL" sz="1600" err="1"/>
              <a:t>Szanghai</a:t>
            </a:r>
            <a:r>
              <a:rPr lang="pl-PL" sz="1600"/>
              <a:t>, Frankfurt, Singapur, Luksemburg, Łódź, Gdańsk, Gdynia, Warszawa</a:t>
            </a:r>
          </a:p>
          <a:p>
            <a:r>
              <a:rPr lang="pl-PL" sz="1600"/>
              <a:t>Data i fakt: </a:t>
            </a:r>
          </a:p>
          <a:p>
            <a:r>
              <a:rPr lang="pl-PL" sz="1600"/>
              <a:t>- Połączenie banków rozpoczęło się w 1997 roku, a zakończyło na początku 2000 roku.</a:t>
            </a:r>
          </a:p>
          <a:p>
            <a:r>
              <a:rPr lang="pl-PL" sz="1600"/>
              <a:t>- </a:t>
            </a:r>
            <a:r>
              <a:rPr lang="pl-PL" sz="1600" err="1"/>
              <a:t>Nordea</a:t>
            </a:r>
            <a:r>
              <a:rPr lang="pl-PL" sz="1600"/>
              <a:t> w Polsce reprezentowana jest od 2010 roku przez </a:t>
            </a:r>
            <a:r>
              <a:rPr lang="pl-PL" sz="1600" err="1"/>
              <a:t>Nordea</a:t>
            </a:r>
            <a:r>
              <a:rPr lang="pl-PL" sz="1600"/>
              <a:t> Bank ABP SA Oddział w Polsce z siedzibą w Łodzi.</a:t>
            </a:r>
          </a:p>
          <a:p>
            <a:r>
              <a:rPr lang="pl-PL" sz="1600"/>
              <a:t>- </a:t>
            </a:r>
            <a:r>
              <a:rPr lang="pl-PL" sz="1600" err="1"/>
              <a:t>Nordea</a:t>
            </a:r>
            <a:r>
              <a:rPr lang="pl-PL" sz="1600"/>
              <a:t> Bank Polska S.A. powstała w latach od 1999 roku do 2014 roku.</a:t>
            </a:r>
          </a:p>
        </p:txBody>
      </p:sp>
    </p:spTree>
    <p:extLst>
      <p:ext uri="{BB962C8B-B14F-4D97-AF65-F5344CB8AC3E}">
        <p14:creationId xmlns:p14="http://schemas.microsoft.com/office/powerpoint/2010/main" val="21904060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8732C67-3E1E-4B01-51A5-A86B6A6D7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err="1"/>
              <a:t>Ektrakcja</a:t>
            </a:r>
            <a:r>
              <a:rPr lang="pl-PL"/>
              <a:t> zaawansowana:</a:t>
            </a:r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90E74552-89BC-336F-0B8C-D620C05C1D4B}"/>
              </a:ext>
            </a:extLst>
          </p:cNvPr>
          <p:cNvSpPr txBox="1"/>
          <p:nvPr/>
        </p:nvSpPr>
        <p:spPr>
          <a:xfrm>
            <a:off x="473815" y="1995382"/>
            <a:ext cx="6098965" cy="364799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pl-PL" dirty="0">
                <a:solidFill>
                  <a:schemeClr val="accent2"/>
                </a:solidFill>
              </a:rPr>
              <a:t>Jesteś moim asystentem tekstowym. </a:t>
            </a:r>
          </a:p>
          <a:p>
            <a:r>
              <a:rPr lang="pl-PL" dirty="0">
                <a:solidFill>
                  <a:schemeClr val="accent6"/>
                </a:solidFill>
              </a:rPr>
              <a:t>Z podanego tekstu wyciągnij wszystkie ważne daty i wydarzenia z nimi związane oraz miasta</a:t>
            </a:r>
            <a:endParaRPr lang="pl-PL" dirty="0">
              <a:solidFill>
                <a:schemeClr val="accent6"/>
              </a:solidFill>
              <a:cs typeface="Arial"/>
            </a:endParaRPr>
          </a:p>
          <a:p>
            <a:r>
              <a:rPr lang="pl-PL" dirty="0">
                <a:solidFill>
                  <a:srgbClr val="0000A0"/>
                </a:solidFill>
              </a:rPr>
              <a:t>Oczekiwany format to lista </a:t>
            </a:r>
            <a:r>
              <a:rPr lang="pl-PL" dirty="0" err="1">
                <a:solidFill>
                  <a:srgbClr val="0000A0"/>
                </a:solidFill>
              </a:rPr>
              <a:t>json</a:t>
            </a:r>
            <a:r>
              <a:rPr lang="pl-PL" dirty="0">
                <a:solidFill>
                  <a:srgbClr val="0000A0"/>
                </a:solidFill>
              </a:rPr>
              <a:t> o nazwie </a:t>
            </a:r>
            <a:r>
              <a:rPr lang="pl-PL" dirty="0" err="1">
                <a:solidFill>
                  <a:srgbClr val="0000A0"/>
                </a:solidFill>
              </a:rPr>
              <a:t>nordea</a:t>
            </a:r>
            <a:endParaRPr lang="pl-PL" dirty="0">
              <a:solidFill>
                <a:srgbClr val="0000A0"/>
              </a:solidFill>
              <a:cs typeface="Arial"/>
            </a:endParaRPr>
          </a:p>
          <a:p>
            <a:r>
              <a:rPr lang="pl-PL" dirty="0">
                <a:solidFill>
                  <a:srgbClr val="0000A0"/>
                </a:solidFill>
              </a:rPr>
              <a:t>{</a:t>
            </a:r>
            <a:endParaRPr lang="pl-PL" dirty="0">
              <a:solidFill>
                <a:srgbClr val="0000A0"/>
              </a:solidFill>
              <a:cs typeface="Arial"/>
            </a:endParaRPr>
          </a:p>
          <a:p>
            <a:r>
              <a:rPr lang="pl-PL" dirty="0">
                <a:solidFill>
                  <a:srgbClr val="0000A0"/>
                </a:solidFill>
              </a:rPr>
              <a:t>  "fakty":[{</a:t>
            </a:r>
            <a:r>
              <a:rPr lang="pl-PL" dirty="0" err="1">
                <a:solidFill>
                  <a:srgbClr val="0000A0"/>
                </a:solidFill>
              </a:rPr>
              <a:t>data:wydarzenia</a:t>
            </a:r>
            <a:r>
              <a:rPr lang="pl-PL" dirty="0">
                <a:solidFill>
                  <a:srgbClr val="0000A0"/>
                </a:solidFill>
              </a:rPr>
              <a:t>}],</a:t>
            </a:r>
            <a:endParaRPr lang="pl-PL" dirty="0">
              <a:solidFill>
                <a:srgbClr val="0000A0"/>
              </a:solidFill>
              <a:cs typeface="Arial"/>
            </a:endParaRPr>
          </a:p>
          <a:p>
            <a:r>
              <a:rPr lang="pl-PL" dirty="0">
                <a:solidFill>
                  <a:srgbClr val="0000A0"/>
                </a:solidFill>
              </a:rPr>
              <a:t>"miasta":[miasta]</a:t>
            </a:r>
            <a:endParaRPr lang="pl-PL" dirty="0">
              <a:solidFill>
                <a:srgbClr val="0000A0"/>
              </a:solidFill>
              <a:cs typeface="Arial"/>
            </a:endParaRPr>
          </a:p>
          <a:p>
            <a:r>
              <a:rPr lang="pl-PL" dirty="0">
                <a:solidFill>
                  <a:srgbClr val="0000A0"/>
                </a:solidFill>
              </a:rPr>
              <a:t>}</a:t>
            </a:r>
            <a:endParaRPr lang="pl-PL" dirty="0">
              <a:solidFill>
                <a:srgbClr val="0000A0"/>
              </a:solidFill>
              <a:cs typeface="Arial"/>
            </a:endParaRPr>
          </a:p>
          <a:p>
            <a:endParaRPr lang="pl-PL" dirty="0"/>
          </a:p>
          <a:p>
            <a:r>
              <a:rPr lang="pl-PL" dirty="0"/>
              <a:t>###</a:t>
            </a:r>
            <a:endParaRPr lang="pl-PL" dirty="0">
              <a:cs typeface="Arial"/>
            </a:endParaRPr>
          </a:p>
          <a:p>
            <a:r>
              <a:rPr lang="pl-PL" dirty="0">
                <a:solidFill>
                  <a:schemeClr val="accent5"/>
                </a:solidFill>
              </a:rPr>
              <a:t>{</a:t>
            </a:r>
            <a:r>
              <a:rPr lang="pl-PL" dirty="0" err="1">
                <a:solidFill>
                  <a:schemeClr val="accent5"/>
                </a:solidFill>
              </a:rPr>
              <a:t>input</a:t>
            </a:r>
            <a:r>
              <a:rPr lang="pl-PL" dirty="0">
                <a:solidFill>
                  <a:schemeClr val="accent5"/>
                </a:solidFill>
              </a:rPr>
              <a:t>}</a:t>
            </a:r>
            <a:endParaRPr lang="pl-PL" dirty="0">
              <a:solidFill>
                <a:schemeClr val="accent5"/>
              </a:solidFill>
              <a:cs typeface="Arial"/>
            </a:endParaRPr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3D98468F-6382-ACB0-FB50-E91D0C7FF4BF}"/>
              </a:ext>
            </a:extLst>
          </p:cNvPr>
          <p:cNvSpPr txBox="1"/>
          <p:nvPr/>
        </p:nvSpPr>
        <p:spPr>
          <a:xfrm>
            <a:off x="7142858" y="1831072"/>
            <a:ext cx="4915261" cy="39096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800"/>
              <a:t>{</a:t>
            </a:r>
          </a:p>
          <a:p>
            <a:r>
              <a:rPr lang="pl-PL" sz="800"/>
              <a:t>  "fakty": [</a:t>
            </a:r>
          </a:p>
          <a:p>
            <a:r>
              <a:rPr lang="pl-PL" sz="800"/>
              <a:t>    {</a:t>
            </a:r>
          </a:p>
          <a:p>
            <a:r>
              <a:rPr lang="pl-PL" sz="800"/>
              <a:t>      "data": "1997",</a:t>
            </a:r>
          </a:p>
          <a:p>
            <a:r>
              <a:rPr lang="pl-PL" sz="800"/>
              <a:t>      "wydarzenia": "rozpoczęcie połączeń wszystkich banków"</a:t>
            </a:r>
          </a:p>
          <a:p>
            <a:r>
              <a:rPr lang="pl-PL" sz="800"/>
              <a:t>    },</a:t>
            </a:r>
          </a:p>
          <a:p>
            <a:r>
              <a:rPr lang="pl-PL" sz="800"/>
              <a:t>    {</a:t>
            </a:r>
          </a:p>
          <a:p>
            <a:r>
              <a:rPr lang="pl-PL" sz="800"/>
              <a:t>      "data": "2000",</a:t>
            </a:r>
          </a:p>
          <a:p>
            <a:r>
              <a:rPr lang="pl-PL" sz="800"/>
              <a:t>      "wydarzenia": "zakończenie planu połączeniowego"</a:t>
            </a:r>
          </a:p>
          <a:p>
            <a:r>
              <a:rPr lang="pl-PL" sz="800"/>
              <a:t>    },</a:t>
            </a:r>
          </a:p>
          <a:p>
            <a:r>
              <a:rPr lang="pl-PL" sz="800"/>
              <a:t>    {</a:t>
            </a:r>
          </a:p>
          <a:p>
            <a:r>
              <a:rPr lang="pl-PL" sz="800"/>
              <a:t>      "data": "2010",</a:t>
            </a:r>
          </a:p>
          <a:p>
            <a:r>
              <a:rPr lang="pl-PL" sz="800"/>
              <a:t>      "wydarzenia": "</a:t>
            </a:r>
            <a:r>
              <a:rPr lang="pl-PL" sz="800" err="1"/>
              <a:t>Nordea</a:t>
            </a:r>
            <a:r>
              <a:rPr lang="pl-PL" sz="800"/>
              <a:t> reprezentowana w Polsce przez </a:t>
            </a:r>
            <a:r>
              <a:rPr lang="pl-PL" sz="800" err="1"/>
              <a:t>Nordea</a:t>
            </a:r>
            <a:r>
              <a:rPr lang="pl-PL" sz="800"/>
              <a:t> Bank ABP SA Oddział w Polsce"</a:t>
            </a:r>
          </a:p>
          <a:p>
            <a:r>
              <a:rPr lang="pl-PL" sz="800"/>
              <a:t>    }</a:t>
            </a:r>
          </a:p>
          <a:p>
            <a:r>
              <a:rPr lang="pl-PL" sz="800"/>
              <a:t>  ],</a:t>
            </a:r>
          </a:p>
          <a:p>
            <a:r>
              <a:rPr lang="pl-PL" sz="800"/>
              <a:t>  "miasta": [</a:t>
            </a:r>
          </a:p>
          <a:p>
            <a:r>
              <a:rPr lang="pl-PL" sz="800"/>
              <a:t>    "Sztokholm",</a:t>
            </a:r>
          </a:p>
          <a:p>
            <a:r>
              <a:rPr lang="pl-PL" sz="800"/>
              <a:t>    "Helsinki",</a:t>
            </a:r>
          </a:p>
          <a:p>
            <a:r>
              <a:rPr lang="pl-PL" sz="800"/>
              <a:t>    "Kopenhaga",</a:t>
            </a:r>
          </a:p>
          <a:p>
            <a:r>
              <a:rPr lang="pl-PL" sz="800"/>
              <a:t>    "Londyn",</a:t>
            </a:r>
          </a:p>
          <a:p>
            <a:r>
              <a:rPr lang="pl-PL" sz="800"/>
              <a:t>    "Nowy Jork",</a:t>
            </a:r>
          </a:p>
          <a:p>
            <a:r>
              <a:rPr lang="pl-PL" sz="800"/>
              <a:t>    "Szanghaj",</a:t>
            </a:r>
          </a:p>
          <a:p>
            <a:r>
              <a:rPr lang="pl-PL" sz="800"/>
              <a:t>    "Frankfurt",</a:t>
            </a:r>
          </a:p>
          <a:p>
            <a:r>
              <a:rPr lang="pl-PL" sz="800"/>
              <a:t>    "Singapur",</a:t>
            </a:r>
          </a:p>
          <a:p>
            <a:r>
              <a:rPr lang="pl-PL" sz="800"/>
              <a:t>    "Luksemburg",</a:t>
            </a:r>
          </a:p>
          <a:p>
            <a:r>
              <a:rPr lang="pl-PL" sz="800"/>
              <a:t>    "Łódź",</a:t>
            </a:r>
          </a:p>
          <a:p>
            <a:r>
              <a:rPr lang="pl-PL" sz="800"/>
              <a:t>    "Gdańsk",</a:t>
            </a:r>
          </a:p>
          <a:p>
            <a:r>
              <a:rPr lang="pl-PL" sz="800"/>
              <a:t>    "Gdynia",</a:t>
            </a:r>
          </a:p>
          <a:p>
            <a:r>
              <a:rPr lang="pl-PL" sz="800"/>
              <a:t>    "Warszawa"</a:t>
            </a:r>
          </a:p>
          <a:p>
            <a:r>
              <a:rPr lang="pl-PL" sz="800"/>
              <a:t>  ]</a:t>
            </a:r>
          </a:p>
          <a:p>
            <a:r>
              <a:rPr lang="pl-PL" sz="80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9441313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68A222FC-B70A-0245-73DF-8A605AE33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Techniki pracy Zero-</a:t>
            </a:r>
            <a:r>
              <a:rPr lang="pl-PL" err="1"/>
              <a:t>Shot</a:t>
            </a:r>
            <a:endParaRPr lang="pl-PL"/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64CCC4C3-56C4-25AF-22C9-410563D57D1B}"/>
              </a:ext>
            </a:extLst>
          </p:cNvPr>
          <p:cNvSpPr/>
          <p:nvPr/>
        </p:nvSpPr>
        <p:spPr>
          <a:xfrm>
            <a:off x="1013557" y="2211863"/>
            <a:ext cx="1511909" cy="147457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Zaprojektuj co potrzebujesz</a:t>
            </a: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6EB41425-E434-01C8-F105-94392101F75A}"/>
              </a:ext>
            </a:extLst>
          </p:cNvPr>
          <p:cNvSpPr/>
          <p:nvPr/>
        </p:nvSpPr>
        <p:spPr>
          <a:xfrm>
            <a:off x="3762835" y="2211864"/>
            <a:ext cx="1511909" cy="147457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Sformułuj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A3C17F02-4254-8CC9-4FB0-C99598C4C20B}"/>
              </a:ext>
            </a:extLst>
          </p:cNvPr>
          <p:cNvSpPr/>
          <p:nvPr/>
        </p:nvSpPr>
        <p:spPr>
          <a:xfrm>
            <a:off x="9261392" y="2211861"/>
            <a:ext cx="1511909" cy="1474578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Dostosuj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702FAEB1-65F3-3053-5D60-6AC92724D79C}"/>
              </a:ext>
            </a:extLst>
          </p:cNvPr>
          <p:cNvSpPr/>
          <p:nvPr/>
        </p:nvSpPr>
        <p:spPr>
          <a:xfrm>
            <a:off x="6512113" y="2211862"/>
            <a:ext cx="1511909" cy="147457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Zapytaj</a:t>
            </a:r>
          </a:p>
        </p:txBody>
      </p:sp>
      <p:cxnSp>
        <p:nvCxnSpPr>
          <p:cNvPr id="8" name="Łącznik prosty ze strzałką 7">
            <a:extLst>
              <a:ext uri="{FF2B5EF4-FFF2-40B4-BE49-F238E27FC236}">
                <a16:creationId xmlns:a16="http://schemas.microsoft.com/office/drawing/2014/main" id="{ACF684A5-A8AB-3002-6A8F-5B8008369BF0}"/>
              </a:ext>
            </a:extLst>
          </p:cNvPr>
          <p:cNvCxnSpPr>
            <a:stCxn id="4" idx="3"/>
            <a:endCxn id="5" idx="1"/>
          </p:cNvCxnSpPr>
          <p:nvPr/>
        </p:nvCxnSpPr>
        <p:spPr>
          <a:xfrm>
            <a:off x="2525466" y="2949152"/>
            <a:ext cx="1237369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Łącznik prosty ze strzałką 8">
            <a:extLst>
              <a:ext uri="{FF2B5EF4-FFF2-40B4-BE49-F238E27FC236}">
                <a16:creationId xmlns:a16="http://schemas.microsoft.com/office/drawing/2014/main" id="{802F8882-D552-B829-F97D-EF01291FD153}"/>
              </a:ext>
            </a:extLst>
          </p:cNvPr>
          <p:cNvCxnSpPr>
            <a:stCxn id="5" idx="3"/>
            <a:endCxn id="7" idx="1"/>
          </p:cNvCxnSpPr>
          <p:nvPr/>
        </p:nvCxnSpPr>
        <p:spPr>
          <a:xfrm flipV="1">
            <a:off x="5274744" y="2949151"/>
            <a:ext cx="1237369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Łącznik prosty ze strzałką 9">
            <a:extLst>
              <a:ext uri="{FF2B5EF4-FFF2-40B4-BE49-F238E27FC236}">
                <a16:creationId xmlns:a16="http://schemas.microsoft.com/office/drawing/2014/main" id="{6BFF42AE-521C-D6E8-07B2-C3E98E32085C}"/>
              </a:ext>
            </a:extLst>
          </p:cNvPr>
          <p:cNvCxnSpPr>
            <a:stCxn id="7" idx="3"/>
            <a:endCxn id="6" idx="1"/>
          </p:cNvCxnSpPr>
          <p:nvPr/>
        </p:nvCxnSpPr>
        <p:spPr>
          <a:xfrm flipV="1">
            <a:off x="8024023" y="2949150"/>
            <a:ext cx="1237369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upa 12">
            <a:extLst>
              <a:ext uri="{FF2B5EF4-FFF2-40B4-BE49-F238E27FC236}">
                <a16:creationId xmlns:a16="http://schemas.microsoft.com/office/drawing/2014/main" id="{6BFEAA1A-58EF-F743-7CBC-7D611EF9E8D8}"/>
              </a:ext>
            </a:extLst>
          </p:cNvPr>
          <p:cNvGrpSpPr/>
          <p:nvPr/>
        </p:nvGrpSpPr>
        <p:grpSpPr>
          <a:xfrm>
            <a:off x="8544872" y="1323733"/>
            <a:ext cx="3146048" cy="3250832"/>
            <a:chOff x="8589372" y="1537935"/>
            <a:chExt cx="3145320" cy="32500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">
              <p14:nvContentPartPr>
                <p14:cNvPr id="11" name="Pismo odręczne 10">
                  <a:extLst>
                    <a:ext uri="{FF2B5EF4-FFF2-40B4-BE49-F238E27FC236}">
                      <a16:creationId xmlns:a16="http://schemas.microsoft.com/office/drawing/2014/main" id="{F55E64B9-36B3-6A4C-656B-A270A6CB37B6}"/>
                    </a:ext>
                  </a:extLst>
                </p14:cNvPr>
                <p14:cNvContentPartPr/>
                <p14:nvPr/>
              </p14:nvContentPartPr>
              <p14:xfrm>
                <a:off x="8589372" y="1573935"/>
                <a:ext cx="3145320" cy="3214080"/>
              </p14:xfrm>
            </p:contentPart>
          </mc:Choice>
          <mc:Fallback xmlns="">
            <p:pic>
              <p:nvPicPr>
                <p:cNvPr id="11" name="Pismo odręczne 10">
                  <a:extLst>
                    <a:ext uri="{FF2B5EF4-FFF2-40B4-BE49-F238E27FC236}">
                      <a16:creationId xmlns:a16="http://schemas.microsoft.com/office/drawing/2014/main" id="{F55E64B9-36B3-6A4C-656B-A270A6CB37B6}"/>
                    </a:ext>
                  </a:extLst>
                </p:cNvPr>
                <p:cNvPicPr/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8580373" y="1564935"/>
                  <a:ext cx="3162958" cy="3231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">
              <p14:nvContentPartPr>
                <p14:cNvPr id="12" name="Pismo odręczne 11">
                  <a:extLst>
                    <a:ext uri="{FF2B5EF4-FFF2-40B4-BE49-F238E27FC236}">
                      <a16:creationId xmlns:a16="http://schemas.microsoft.com/office/drawing/2014/main" id="{57DD901A-2F42-3AF0-B6FA-DE8DACDAC89F}"/>
                    </a:ext>
                  </a:extLst>
                </p14:cNvPr>
                <p14:cNvContentPartPr/>
                <p14:nvPr/>
              </p14:nvContentPartPr>
              <p14:xfrm>
                <a:off x="9008412" y="1537935"/>
                <a:ext cx="2110320" cy="2874240"/>
              </p14:xfrm>
            </p:contentPart>
          </mc:Choice>
          <mc:Fallback xmlns="">
            <p:pic>
              <p:nvPicPr>
                <p:cNvPr id="12" name="Pismo odręczne 11">
                  <a:extLst>
                    <a:ext uri="{FF2B5EF4-FFF2-40B4-BE49-F238E27FC236}">
                      <a16:creationId xmlns:a16="http://schemas.microsoft.com/office/drawing/2014/main" id="{57DD901A-2F42-3AF0-B6FA-DE8DACDAC89F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8999412" y="1528935"/>
                  <a:ext cx="2127960" cy="289188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401624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984AE17-DF34-331B-98E8-BA76E643A7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Multi-</a:t>
            </a:r>
            <a:r>
              <a:rPr lang="pl-PL" err="1"/>
              <a:t>Shot</a:t>
            </a:r>
            <a:endParaRPr lang="pl-PL"/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D4891F1D-4003-8F7F-1CD6-0353FD6D1277}"/>
              </a:ext>
            </a:extLst>
          </p:cNvPr>
          <p:cNvSpPr/>
          <p:nvPr/>
        </p:nvSpPr>
        <p:spPr>
          <a:xfrm>
            <a:off x="994892" y="2435850"/>
            <a:ext cx="1511909" cy="147457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Zaprojektuj co potrzebujesz</a:t>
            </a: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9AC088CC-04A5-FC1A-CF61-0833AD4B2E34}"/>
              </a:ext>
            </a:extLst>
          </p:cNvPr>
          <p:cNvSpPr/>
          <p:nvPr/>
        </p:nvSpPr>
        <p:spPr>
          <a:xfrm>
            <a:off x="3744170" y="2435851"/>
            <a:ext cx="1511909" cy="147457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Sformułuj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146EE3A7-F9EA-AFA0-6AD8-115C25C02E41}"/>
              </a:ext>
            </a:extLst>
          </p:cNvPr>
          <p:cNvSpPr/>
          <p:nvPr/>
        </p:nvSpPr>
        <p:spPr>
          <a:xfrm>
            <a:off x="9242726" y="2435848"/>
            <a:ext cx="1511909" cy="1474578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Dostosuj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16B54B20-DF34-1CF5-822D-87B4CDF111A5}"/>
              </a:ext>
            </a:extLst>
          </p:cNvPr>
          <p:cNvSpPr/>
          <p:nvPr/>
        </p:nvSpPr>
        <p:spPr>
          <a:xfrm>
            <a:off x="6493448" y="2435849"/>
            <a:ext cx="1511909" cy="147457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Zapytaj</a:t>
            </a:r>
          </a:p>
        </p:txBody>
      </p:sp>
      <p:cxnSp>
        <p:nvCxnSpPr>
          <p:cNvPr id="8" name="Łącznik prosty ze strzałką 7">
            <a:extLst>
              <a:ext uri="{FF2B5EF4-FFF2-40B4-BE49-F238E27FC236}">
                <a16:creationId xmlns:a16="http://schemas.microsoft.com/office/drawing/2014/main" id="{24026CA5-4876-F376-D6C1-E78AF7022243}"/>
              </a:ext>
            </a:extLst>
          </p:cNvPr>
          <p:cNvCxnSpPr>
            <a:stCxn id="4" idx="3"/>
            <a:endCxn id="5" idx="1"/>
          </p:cNvCxnSpPr>
          <p:nvPr/>
        </p:nvCxnSpPr>
        <p:spPr>
          <a:xfrm>
            <a:off x="2506801" y="3173139"/>
            <a:ext cx="1237369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Łącznik prosty ze strzałką 8">
            <a:extLst>
              <a:ext uri="{FF2B5EF4-FFF2-40B4-BE49-F238E27FC236}">
                <a16:creationId xmlns:a16="http://schemas.microsoft.com/office/drawing/2014/main" id="{7499A961-A70E-1DAE-17E7-F85F1E2B46D0}"/>
              </a:ext>
            </a:extLst>
          </p:cNvPr>
          <p:cNvCxnSpPr>
            <a:stCxn id="5" idx="3"/>
            <a:endCxn id="7" idx="1"/>
          </p:cNvCxnSpPr>
          <p:nvPr/>
        </p:nvCxnSpPr>
        <p:spPr>
          <a:xfrm flipV="1">
            <a:off x="5256079" y="3173138"/>
            <a:ext cx="1237369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Łącznik prosty ze strzałką 9">
            <a:extLst>
              <a:ext uri="{FF2B5EF4-FFF2-40B4-BE49-F238E27FC236}">
                <a16:creationId xmlns:a16="http://schemas.microsoft.com/office/drawing/2014/main" id="{002B0EB2-6986-5531-C14F-DFCE7D48D321}"/>
              </a:ext>
            </a:extLst>
          </p:cNvPr>
          <p:cNvCxnSpPr>
            <a:stCxn id="7" idx="3"/>
            <a:endCxn id="6" idx="1"/>
          </p:cNvCxnSpPr>
          <p:nvPr/>
        </p:nvCxnSpPr>
        <p:spPr>
          <a:xfrm flipV="1">
            <a:off x="8005357" y="3173137"/>
            <a:ext cx="1237369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Łącznik łamany 11">
            <a:extLst>
              <a:ext uri="{FF2B5EF4-FFF2-40B4-BE49-F238E27FC236}">
                <a16:creationId xmlns:a16="http://schemas.microsoft.com/office/drawing/2014/main" id="{D85E1DF6-B609-F688-E83A-2BF5266B7681}"/>
              </a:ext>
            </a:extLst>
          </p:cNvPr>
          <p:cNvCxnSpPr>
            <a:stCxn id="6" idx="2"/>
            <a:endCxn id="7" idx="2"/>
          </p:cNvCxnSpPr>
          <p:nvPr/>
        </p:nvCxnSpPr>
        <p:spPr>
          <a:xfrm rot="5400000">
            <a:off x="8624042" y="2535786"/>
            <a:ext cx="1" cy="2749278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D516CA03-6404-64E5-FECB-2AAF6AAA7E02}"/>
              </a:ext>
            </a:extLst>
          </p:cNvPr>
          <p:cNvSpPr txBox="1"/>
          <p:nvPr/>
        </p:nvSpPr>
        <p:spPr>
          <a:xfrm>
            <a:off x="8446335" y="4171749"/>
            <a:ext cx="670531" cy="41559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/>
              <a:t>X+1</a:t>
            </a:r>
          </a:p>
        </p:txBody>
      </p:sp>
    </p:spTree>
    <p:extLst>
      <p:ext uri="{BB962C8B-B14F-4D97-AF65-F5344CB8AC3E}">
        <p14:creationId xmlns:p14="http://schemas.microsoft.com/office/powerpoint/2010/main" val="30583245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BB92B1B-A1F8-CCDC-7205-7E9E9D112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err="1"/>
              <a:t>Prompt</a:t>
            </a:r>
            <a:r>
              <a:rPr lang="pl-PL"/>
              <a:t> </a:t>
            </a:r>
            <a:r>
              <a:rPr lang="pl-PL" err="1"/>
              <a:t>Chaining</a:t>
            </a:r>
            <a:endParaRPr lang="pl-PL"/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403C7F89-3E29-5DF0-2029-CEFBC5F889C6}"/>
              </a:ext>
            </a:extLst>
          </p:cNvPr>
          <p:cNvSpPr txBox="1"/>
          <p:nvPr/>
        </p:nvSpPr>
        <p:spPr>
          <a:xfrm>
            <a:off x="1211104" y="2036393"/>
            <a:ext cx="60989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 err="1"/>
              <a:t>Bedziesz</a:t>
            </a:r>
            <a:r>
              <a:rPr lang="pl-PL" sz="1200"/>
              <a:t> moim asystentem do napisania pracy na temat </a:t>
            </a:r>
            <a:r>
              <a:rPr lang="pl-PL" sz="1200" err="1"/>
              <a:t>dżownic</a:t>
            </a:r>
            <a:endParaRPr lang="pl-PL" sz="1200"/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2854EEDD-DD56-996E-4DB4-5ABEBF8BA99C}"/>
              </a:ext>
            </a:extLst>
          </p:cNvPr>
          <p:cNvSpPr txBox="1"/>
          <p:nvPr/>
        </p:nvSpPr>
        <p:spPr>
          <a:xfrm>
            <a:off x="438817" y="2174924"/>
            <a:ext cx="9892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>
                <a:solidFill>
                  <a:schemeClr val="accent5"/>
                </a:solidFill>
              </a:rPr>
              <a:t>User</a:t>
            </a:r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70083BAA-A5DE-E574-C1D7-27AD2264E182}"/>
              </a:ext>
            </a:extLst>
          </p:cNvPr>
          <p:cNvSpPr txBox="1"/>
          <p:nvPr/>
        </p:nvSpPr>
        <p:spPr>
          <a:xfrm>
            <a:off x="4864883" y="3052291"/>
            <a:ext cx="14442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>
                <a:solidFill>
                  <a:schemeClr val="accent2"/>
                </a:solidFill>
              </a:rPr>
              <a:t>Assistant</a:t>
            </a: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3B672A0F-CDAF-C0BD-14E5-2EC62424D647}"/>
              </a:ext>
            </a:extLst>
          </p:cNvPr>
          <p:cNvSpPr txBox="1"/>
          <p:nvPr/>
        </p:nvSpPr>
        <p:spPr>
          <a:xfrm>
            <a:off x="5980151" y="3052291"/>
            <a:ext cx="609896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/>
              <a:t>Oczywiście! Jestem tu, aby pomóc. Jak mogę Ci asystować w napisaniu pracy na temat </a:t>
            </a:r>
            <a:r>
              <a:rPr lang="pl-PL" sz="1200" err="1"/>
              <a:t>dżownic</a:t>
            </a:r>
            <a:r>
              <a:rPr lang="pl-PL" sz="1200"/>
              <a:t>?</a:t>
            </a:r>
          </a:p>
        </p:txBody>
      </p:sp>
      <p:sp>
        <p:nvSpPr>
          <p:cNvPr id="14" name="pole tekstowe 13">
            <a:extLst>
              <a:ext uri="{FF2B5EF4-FFF2-40B4-BE49-F238E27FC236}">
                <a16:creationId xmlns:a16="http://schemas.microsoft.com/office/drawing/2014/main" id="{E8D37431-F5B5-2B7B-C945-D774A7183865}"/>
              </a:ext>
            </a:extLst>
          </p:cNvPr>
          <p:cNvSpPr txBox="1"/>
          <p:nvPr/>
        </p:nvSpPr>
        <p:spPr>
          <a:xfrm>
            <a:off x="1211104" y="3992007"/>
            <a:ext cx="60989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/>
              <a:t>Co taka praca powinna zawierać ? </a:t>
            </a:r>
          </a:p>
        </p:txBody>
      </p:sp>
      <p:sp>
        <p:nvSpPr>
          <p:cNvPr id="15" name="pole tekstowe 14">
            <a:extLst>
              <a:ext uri="{FF2B5EF4-FFF2-40B4-BE49-F238E27FC236}">
                <a16:creationId xmlns:a16="http://schemas.microsoft.com/office/drawing/2014/main" id="{96F5C568-D480-5ECD-CEC9-F29AA6815F9D}"/>
              </a:ext>
            </a:extLst>
          </p:cNvPr>
          <p:cNvSpPr txBox="1"/>
          <p:nvPr/>
        </p:nvSpPr>
        <p:spPr>
          <a:xfrm>
            <a:off x="438817" y="3996373"/>
            <a:ext cx="9892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>
                <a:solidFill>
                  <a:schemeClr val="accent1"/>
                </a:solidFill>
              </a:rPr>
              <a:t>User</a:t>
            </a:r>
          </a:p>
        </p:txBody>
      </p:sp>
      <p:sp>
        <p:nvSpPr>
          <p:cNvPr id="16" name="pole tekstowe 15">
            <a:extLst>
              <a:ext uri="{FF2B5EF4-FFF2-40B4-BE49-F238E27FC236}">
                <a16:creationId xmlns:a16="http://schemas.microsoft.com/office/drawing/2014/main" id="{11B10EC4-5F5F-7941-E6BD-1203F4395D6E}"/>
              </a:ext>
            </a:extLst>
          </p:cNvPr>
          <p:cNvSpPr txBox="1"/>
          <p:nvPr/>
        </p:nvSpPr>
        <p:spPr>
          <a:xfrm>
            <a:off x="4864883" y="4522766"/>
            <a:ext cx="14442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>
                <a:solidFill>
                  <a:schemeClr val="accent2"/>
                </a:solidFill>
              </a:rPr>
              <a:t>Assistant</a:t>
            </a:r>
          </a:p>
        </p:txBody>
      </p:sp>
      <p:sp>
        <p:nvSpPr>
          <p:cNvPr id="18" name="pole tekstowe 17">
            <a:extLst>
              <a:ext uri="{FF2B5EF4-FFF2-40B4-BE49-F238E27FC236}">
                <a16:creationId xmlns:a16="http://schemas.microsoft.com/office/drawing/2014/main" id="{08CAEE22-118C-20E1-2D69-2222337EE03A}"/>
              </a:ext>
            </a:extLst>
          </p:cNvPr>
          <p:cNvSpPr txBox="1"/>
          <p:nvPr/>
        </p:nvSpPr>
        <p:spPr>
          <a:xfrm>
            <a:off x="5980151" y="4747292"/>
            <a:ext cx="609896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/>
              <a:t>Praca na temat </a:t>
            </a:r>
            <a:r>
              <a:rPr lang="pl-PL" sz="1200" err="1"/>
              <a:t>dżownic</a:t>
            </a:r>
            <a:r>
              <a:rPr lang="pl-PL" sz="1200"/>
              <a:t> powinna zawierać informacje na temat tego fascynującego gatunku stawonogów. Oto kilka punktów, które można uwzględnić w takiej pracy:</a:t>
            </a:r>
          </a:p>
          <a:p>
            <a:endParaRPr lang="pl-PL" sz="1200"/>
          </a:p>
          <a:p>
            <a:r>
              <a:rPr lang="pl-PL" sz="1200"/>
              <a:t>1. Wprowadzenie: W tej sekcji warto przedstawić ogólne informacje dotyczące </a:t>
            </a:r>
            <a:r>
              <a:rPr lang="pl-PL" sz="1200" err="1"/>
              <a:t>dżownic</a:t>
            </a:r>
            <a:r>
              <a:rPr lang="pl-PL" sz="1200"/>
              <a:t>, takie jak ich klasyfikacja, morfologia i występowanie. Można też wspomnieć o ich znaczeniu w ekosystemach i jak odgrywają ważną rolę w </a:t>
            </a:r>
          </a:p>
        </p:txBody>
      </p:sp>
      <p:cxnSp>
        <p:nvCxnSpPr>
          <p:cNvPr id="20" name="Łącznik zakrzywiony 19">
            <a:extLst>
              <a:ext uri="{FF2B5EF4-FFF2-40B4-BE49-F238E27FC236}">
                <a16:creationId xmlns:a16="http://schemas.microsoft.com/office/drawing/2014/main" id="{DC6DCCB4-D35F-52A5-7728-0C22595577CB}"/>
              </a:ext>
            </a:extLst>
          </p:cNvPr>
          <p:cNvCxnSpPr/>
          <p:nvPr/>
        </p:nvCxnSpPr>
        <p:spPr>
          <a:xfrm>
            <a:off x="3882610" y="2682873"/>
            <a:ext cx="982273" cy="738835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Łącznik zakrzywiony 21">
            <a:extLst>
              <a:ext uri="{FF2B5EF4-FFF2-40B4-BE49-F238E27FC236}">
                <a16:creationId xmlns:a16="http://schemas.microsoft.com/office/drawing/2014/main" id="{6905F877-B0F5-F39D-1D17-7ED0C338CE40}"/>
              </a:ext>
            </a:extLst>
          </p:cNvPr>
          <p:cNvCxnSpPr/>
          <p:nvPr/>
        </p:nvCxnSpPr>
        <p:spPr>
          <a:xfrm rot="10800000" flipV="1">
            <a:off x="4629231" y="3817103"/>
            <a:ext cx="1073268" cy="359612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Łącznik zakrzywiony 23">
            <a:extLst>
              <a:ext uri="{FF2B5EF4-FFF2-40B4-BE49-F238E27FC236}">
                <a16:creationId xmlns:a16="http://schemas.microsoft.com/office/drawing/2014/main" id="{04D5C654-E350-92A7-1B66-AC86FF989218}"/>
              </a:ext>
            </a:extLst>
          </p:cNvPr>
          <p:cNvCxnSpPr/>
          <p:nvPr/>
        </p:nvCxnSpPr>
        <p:spPr>
          <a:xfrm>
            <a:off x="3089324" y="4550729"/>
            <a:ext cx="1775559" cy="1179593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12690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7C16576-EA43-11B8-967C-76ECB61534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err="1"/>
              <a:t>Prompt</a:t>
            </a:r>
            <a:r>
              <a:rPr lang="pl-PL"/>
              <a:t> </a:t>
            </a:r>
            <a:r>
              <a:rPr lang="pl-PL" err="1"/>
              <a:t>Chaining</a:t>
            </a:r>
            <a:endParaRPr lang="pl-PL"/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804E81A1-0C8D-6BDB-ACB8-82992FF7C8CB}"/>
              </a:ext>
            </a:extLst>
          </p:cNvPr>
          <p:cNvSpPr txBox="1"/>
          <p:nvPr/>
        </p:nvSpPr>
        <p:spPr>
          <a:xfrm>
            <a:off x="1145775" y="2174924"/>
            <a:ext cx="60989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/>
              <a:t>Opisz dla mnie punkt 1</a:t>
            </a:r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9E7C464A-1F50-D683-9ACC-CAC98D13B334}"/>
              </a:ext>
            </a:extLst>
          </p:cNvPr>
          <p:cNvSpPr txBox="1"/>
          <p:nvPr/>
        </p:nvSpPr>
        <p:spPr>
          <a:xfrm>
            <a:off x="438817" y="2174924"/>
            <a:ext cx="989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800">
                <a:solidFill>
                  <a:schemeClr val="accent1"/>
                </a:solidFill>
              </a:rPr>
              <a:t>User</a:t>
            </a: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199D4378-7DE2-F099-A9F9-88DFF8BD5D7E}"/>
              </a:ext>
            </a:extLst>
          </p:cNvPr>
          <p:cNvSpPr txBox="1"/>
          <p:nvPr/>
        </p:nvSpPr>
        <p:spPr>
          <a:xfrm>
            <a:off x="3993732" y="2822863"/>
            <a:ext cx="14442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800">
                <a:solidFill>
                  <a:schemeClr val="accent2"/>
                </a:solidFill>
              </a:rPr>
              <a:t>Assistant</a:t>
            </a:r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C392F74E-F3D7-1D46-71B0-4E42D8DA9ABC}"/>
              </a:ext>
            </a:extLst>
          </p:cNvPr>
          <p:cNvSpPr txBox="1"/>
          <p:nvPr/>
        </p:nvSpPr>
        <p:spPr>
          <a:xfrm>
            <a:off x="5257639" y="2822863"/>
            <a:ext cx="6098965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/>
              <a:t>Oczywiście! Punkt 1 dotyczy wprowadzenia do pracy na temat </a:t>
            </a:r>
            <a:r>
              <a:rPr lang="pl-PL" sz="1800" err="1"/>
              <a:t>dżownic</a:t>
            </a:r>
            <a:r>
              <a:rPr lang="pl-PL" sz="1800"/>
              <a:t>. Poniżej znajduje się krótkie omówienie tego zagadnienia:</a:t>
            </a:r>
          </a:p>
          <a:p>
            <a:endParaRPr lang="pl-PL" sz="1800"/>
          </a:p>
          <a:p>
            <a:r>
              <a:rPr lang="pl-PL" sz="1800"/>
              <a:t>Wprowadzenie: W tej sekcji, która jest otwierającą częścią pracy, warto przedstawić ogólne informacje dotyczące </a:t>
            </a:r>
            <a:r>
              <a:rPr lang="pl-PL" sz="1800" err="1"/>
              <a:t>dżownic</a:t>
            </a:r>
            <a:r>
              <a:rPr lang="pl-PL" sz="1800"/>
              <a:t>. Można rozpocząć od wprowadzenia do tematu, </a:t>
            </a:r>
          </a:p>
        </p:txBody>
      </p:sp>
      <p:cxnSp>
        <p:nvCxnSpPr>
          <p:cNvPr id="10" name="Łącznik zakrzywiony 9">
            <a:extLst>
              <a:ext uri="{FF2B5EF4-FFF2-40B4-BE49-F238E27FC236}">
                <a16:creationId xmlns:a16="http://schemas.microsoft.com/office/drawing/2014/main" id="{2680370B-73A1-42FE-689E-36D9025DBEC7}"/>
              </a:ext>
            </a:extLst>
          </p:cNvPr>
          <p:cNvCxnSpPr/>
          <p:nvPr/>
        </p:nvCxnSpPr>
        <p:spPr>
          <a:xfrm>
            <a:off x="2585355" y="2822864"/>
            <a:ext cx="1885219" cy="1059570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018089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1,006,786 Garbage Images, Stock Photos, 3D objects, &amp; Vectors | Shutterstock">
            <a:extLst>
              <a:ext uri="{FF2B5EF4-FFF2-40B4-BE49-F238E27FC236}">
                <a16:creationId xmlns:a16="http://schemas.microsoft.com/office/drawing/2014/main" id="{20796605-FCD3-5837-FCA2-A5C7DA45B6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2056" y="1818336"/>
            <a:ext cx="3328170" cy="2438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1,006,786 Garbage Images, Stock Photos, 3D objects, &amp; Vectors | Shutterstock">
            <a:extLst>
              <a:ext uri="{FF2B5EF4-FFF2-40B4-BE49-F238E27FC236}">
                <a16:creationId xmlns:a16="http://schemas.microsoft.com/office/drawing/2014/main" id="{7B69DAC7-35BE-D3ED-F574-7B56201346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6964498" y="1818336"/>
            <a:ext cx="3328170" cy="2438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ówne 6">
            <a:extLst>
              <a:ext uri="{FF2B5EF4-FFF2-40B4-BE49-F238E27FC236}">
                <a16:creationId xmlns:a16="http://schemas.microsoft.com/office/drawing/2014/main" id="{431169FB-3F39-9C9E-B15B-AB8963ED5583}"/>
              </a:ext>
            </a:extLst>
          </p:cNvPr>
          <p:cNvSpPr/>
          <p:nvPr/>
        </p:nvSpPr>
        <p:spPr>
          <a:xfrm>
            <a:off x="5095870" y="2510517"/>
            <a:ext cx="1315921" cy="1054603"/>
          </a:xfrm>
          <a:prstGeom prst="mathEqual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86689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9CD00AF-1FE4-8385-CB80-6C0BED94D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Środowisko pracy i zabawy</a:t>
            </a:r>
          </a:p>
        </p:txBody>
      </p:sp>
      <p:pic>
        <p:nvPicPr>
          <p:cNvPr id="7" name="Obraz 6" descr="Obraz zawierający tekst, zrzut ekranu, oprogramowanie, Strona internetowa&#10;&#10;Opis wygenerowany automatycznie">
            <a:extLst>
              <a:ext uri="{FF2B5EF4-FFF2-40B4-BE49-F238E27FC236}">
                <a16:creationId xmlns:a16="http://schemas.microsoft.com/office/drawing/2014/main" id="{3ADEC93D-39D6-A167-165F-5AC50658D8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3853" y="1446580"/>
            <a:ext cx="8340387" cy="5212742"/>
          </a:xfrm>
          <a:prstGeom prst="rect">
            <a:avLst/>
          </a:prstGeom>
        </p:spPr>
      </p:pic>
      <p:sp>
        <p:nvSpPr>
          <p:cNvPr id="8" name="Para nawiasów 7">
            <a:extLst>
              <a:ext uri="{FF2B5EF4-FFF2-40B4-BE49-F238E27FC236}">
                <a16:creationId xmlns:a16="http://schemas.microsoft.com/office/drawing/2014/main" id="{F833B6F9-D2FC-2243-2FBD-3CB8E168D616}"/>
              </a:ext>
            </a:extLst>
          </p:cNvPr>
          <p:cNvSpPr/>
          <p:nvPr/>
        </p:nvSpPr>
        <p:spPr>
          <a:xfrm>
            <a:off x="8390338" y="2911826"/>
            <a:ext cx="1810558" cy="3761107"/>
          </a:xfrm>
          <a:prstGeom prst="bracketPair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125722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636DC6C3-3FFA-8A7D-36F5-AACEA2AFB8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Przedwstęp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9F13F4AC-3E6F-6B25-7A57-5C63A1AC42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3304254"/>
              </p:ext>
            </p:extLst>
          </p:nvPr>
        </p:nvGraphicFramePr>
        <p:xfrm>
          <a:off x="5476439" y="2082418"/>
          <a:ext cx="4789786" cy="35639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Strzałka w prawo 5">
            <a:extLst>
              <a:ext uri="{FF2B5EF4-FFF2-40B4-BE49-F238E27FC236}">
                <a16:creationId xmlns:a16="http://schemas.microsoft.com/office/drawing/2014/main" id="{98992F9C-A548-B34E-498E-98AB420EDF30}"/>
              </a:ext>
            </a:extLst>
          </p:cNvPr>
          <p:cNvSpPr/>
          <p:nvPr/>
        </p:nvSpPr>
        <p:spPr>
          <a:xfrm>
            <a:off x="4181258" y="2370525"/>
            <a:ext cx="2127871" cy="793286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F715AA44-2191-B46D-4398-24903C2B24E5}"/>
              </a:ext>
            </a:extLst>
          </p:cNvPr>
          <p:cNvSpPr txBox="1"/>
          <p:nvPr/>
        </p:nvSpPr>
        <p:spPr>
          <a:xfrm>
            <a:off x="2146713" y="2443927"/>
            <a:ext cx="1875887" cy="10620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/>
              <a:t>Software Development 3.0</a:t>
            </a:r>
          </a:p>
        </p:txBody>
      </p:sp>
      <p:sp>
        <p:nvSpPr>
          <p:cNvPr id="8" name="Strzałka w prawo 7">
            <a:extLst>
              <a:ext uri="{FF2B5EF4-FFF2-40B4-BE49-F238E27FC236}">
                <a16:creationId xmlns:a16="http://schemas.microsoft.com/office/drawing/2014/main" id="{E677E76F-4BBE-12DE-4E89-55B0946F57DB}"/>
              </a:ext>
            </a:extLst>
          </p:cNvPr>
          <p:cNvSpPr/>
          <p:nvPr/>
        </p:nvSpPr>
        <p:spPr>
          <a:xfrm>
            <a:off x="3769061" y="3601813"/>
            <a:ext cx="2127871" cy="793286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0FF9A5DD-BC6E-3663-7157-737B18C57080}"/>
              </a:ext>
            </a:extLst>
          </p:cNvPr>
          <p:cNvSpPr txBox="1"/>
          <p:nvPr/>
        </p:nvSpPr>
        <p:spPr>
          <a:xfrm>
            <a:off x="1734516" y="3675215"/>
            <a:ext cx="1875887" cy="10620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/>
              <a:t>Software Development 2.0</a:t>
            </a:r>
          </a:p>
        </p:txBody>
      </p:sp>
      <p:sp>
        <p:nvSpPr>
          <p:cNvPr id="10" name="Strzałka w prawo 9">
            <a:extLst>
              <a:ext uri="{FF2B5EF4-FFF2-40B4-BE49-F238E27FC236}">
                <a16:creationId xmlns:a16="http://schemas.microsoft.com/office/drawing/2014/main" id="{CA2FF4D9-20E7-F165-B16B-5E6AB493110E}"/>
              </a:ext>
            </a:extLst>
          </p:cNvPr>
          <p:cNvSpPr/>
          <p:nvPr/>
        </p:nvSpPr>
        <p:spPr>
          <a:xfrm>
            <a:off x="3348569" y="4712102"/>
            <a:ext cx="2127871" cy="793286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777499EB-5FFA-EDA8-5CD0-ADE059D02D19}"/>
              </a:ext>
            </a:extLst>
          </p:cNvPr>
          <p:cNvSpPr txBox="1"/>
          <p:nvPr/>
        </p:nvSpPr>
        <p:spPr>
          <a:xfrm>
            <a:off x="1314024" y="4785504"/>
            <a:ext cx="1875887" cy="10620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/>
              <a:t>Software Development 1.0</a:t>
            </a:r>
          </a:p>
        </p:txBody>
      </p:sp>
    </p:spTree>
    <p:extLst>
      <p:ext uri="{BB962C8B-B14F-4D97-AF65-F5344CB8AC3E}">
        <p14:creationId xmlns:p14="http://schemas.microsoft.com/office/powerpoint/2010/main" val="12073991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781F1F9-1A55-A98E-77B8-1716909D2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Negocjacje z modelem </a:t>
            </a: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E5D7568E-17DD-3C86-906C-E51D06B45CB0}"/>
              </a:ext>
            </a:extLst>
          </p:cNvPr>
          <p:cNvSpPr/>
          <p:nvPr/>
        </p:nvSpPr>
        <p:spPr>
          <a:xfrm>
            <a:off x="1196323" y="2249195"/>
            <a:ext cx="1511909" cy="147457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Sformułuj</a:t>
            </a: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AACD5091-151A-D4EE-6416-9D4394B8B3C2}"/>
              </a:ext>
            </a:extLst>
          </p:cNvPr>
          <p:cNvSpPr/>
          <p:nvPr/>
        </p:nvSpPr>
        <p:spPr>
          <a:xfrm>
            <a:off x="3945601" y="2249193"/>
            <a:ext cx="1511909" cy="147457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Zapytaj</a:t>
            </a:r>
          </a:p>
        </p:txBody>
      </p:sp>
      <p:cxnSp>
        <p:nvCxnSpPr>
          <p:cNvPr id="6" name="Łącznik prosty ze strzałką 5">
            <a:extLst>
              <a:ext uri="{FF2B5EF4-FFF2-40B4-BE49-F238E27FC236}">
                <a16:creationId xmlns:a16="http://schemas.microsoft.com/office/drawing/2014/main" id="{AA0D5616-23F2-0479-A4C4-42646E40EEF6}"/>
              </a:ext>
            </a:extLst>
          </p:cNvPr>
          <p:cNvCxnSpPr>
            <a:stCxn id="4" idx="3"/>
            <a:endCxn id="5" idx="1"/>
          </p:cNvCxnSpPr>
          <p:nvPr/>
        </p:nvCxnSpPr>
        <p:spPr>
          <a:xfrm flipV="1">
            <a:off x="2708232" y="2986482"/>
            <a:ext cx="1237369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mb 6">
            <a:extLst>
              <a:ext uri="{FF2B5EF4-FFF2-40B4-BE49-F238E27FC236}">
                <a16:creationId xmlns:a16="http://schemas.microsoft.com/office/drawing/2014/main" id="{E1BBF9EC-7BCC-764F-BCB5-ABFBEE56C4BD}"/>
              </a:ext>
            </a:extLst>
          </p:cNvPr>
          <p:cNvSpPr/>
          <p:nvPr/>
        </p:nvSpPr>
        <p:spPr>
          <a:xfrm>
            <a:off x="6402457" y="2165197"/>
            <a:ext cx="2127872" cy="1707903"/>
          </a:xfrm>
          <a:prstGeom prst="diamond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Czy dobrze ?</a:t>
            </a:r>
          </a:p>
        </p:txBody>
      </p:sp>
      <p:cxnSp>
        <p:nvCxnSpPr>
          <p:cNvPr id="9" name="Łącznik prosty ze strzałką 8">
            <a:extLst>
              <a:ext uri="{FF2B5EF4-FFF2-40B4-BE49-F238E27FC236}">
                <a16:creationId xmlns:a16="http://schemas.microsoft.com/office/drawing/2014/main" id="{8F561DF6-09B0-425A-9CCD-8AF3AF2703D0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5457510" y="2986483"/>
            <a:ext cx="944947" cy="326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rostokąt 11">
            <a:extLst>
              <a:ext uri="{FF2B5EF4-FFF2-40B4-BE49-F238E27FC236}">
                <a16:creationId xmlns:a16="http://schemas.microsoft.com/office/drawing/2014/main" id="{312F10FD-55C0-2AA6-E5BF-59E848AD276A}"/>
              </a:ext>
            </a:extLst>
          </p:cNvPr>
          <p:cNvSpPr/>
          <p:nvPr/>
        </p:nvSpPr>
        <p:spPr>
          <a:xfrm>
            <a:off x="3936269" y="4545056"/>
            <a:ext cx="1521241" cy="143724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Dostosuj i zapytaj</a:t>
            </a:r>
          </a:p>
        </p:txBody>
      </p:sp>
      <p:cxnSp>
        <p:nvCxnSpPr>
          <p:cNvPr id="14" name="Łącznik łamany 13">
            <a:extLst>
              <a:ext uri="{FF2B5EF4-FFF2-40B4-BE49-F238E27FC236}">
                <a16:creationId xmlns:a16="http://schemas.microsoft.com/office/drawing/2014/main" id="{3E218FEE-2886-257F-B7F2-B206093D3AEB}"/>
              </a:ext>
            </a:extLst>
          </p:cNvPr>
          <p:cNvCxnSpPr>
            <a:stCxn id="7" idx="2"/>
            <a:endCxn id="12" idx="3"/>
          </p:cNvCxnSpPr>
          <p:nvPr/>
        </p:nvCxnSpPr>
        <p:spPr>
          <a:xfrm rot="5400000">
            <a:off x="5766663" y="3563948"/>
            <a:ext cx="1390579" cy="200888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Łącznik łamany 15">
            <a:extLst>
              <a:ext uri="{FF2B5EF4-FFF2-40B4-BE49-F238E27FC236}">
                <a16:creationId xmlns:a16="http://schemas.microsoft.com/office/drawing/2014/main" id="{D3957AB2-D85D-268D-6684-2872A987A75A}"/>
              </a:ext>
            </a:extLst>
          </p:cNvPr>
          <p:cNvCxnSpPr>
            <a:stCxn id="12" idx="0"/>
            <a:endCxn id="5" idx="2"/>
          </p:cNvCxnSpPr>
          <p:nvPr/>
        </p:nvCxnSpPr>
        <p:spPr>
          <a:xfrm rot="5400000" flipH="1" flipV="1">
            <a:off x="4288581" y="4132082"/>
            <a:ext cx="821285" cy="466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rostokąt 16">
            <a:extLst>
              <a:ext uri="{FF2B5EF4-FFF2-40B4-BE49-F238E27FC236}">
                <a16:creationId xmlns:a16="http://schemas.microsoft.com/office/drawing/2014/main" id="{504335A6-3B8E-78B0-C0AD-B2336462A21F}"/>
              </a:ext>
            </a:extLst>
          </p:cNvPr>
          <p:cNvSpPr/>
          <p:nvPr/>
        </p:nvSpPr>
        <p:spPr>
          <a:xfrm>
            <a:off x="9072405" y="2300525"/>
            <a:ext cx="1521241" cy="143724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O to mi chodziło</a:t>
            </a:r>
          </a:p>
        </p:txBody>
      </p:sp>
      <p:cxnSp>
        <p:nvCxnSpPr>
          <p:cNvPr id="19" name="Łącznik prosty ze strzałką 18">
            <a:extLst>
              <a:ext uri="{FF2B5EF4-FFF2-40B4-BE49-F238E27FC236}">
                <a16:creationId xmlns:a16="http://schemas.microsoft.com/office/drawing/2014/main" id="{8406B2EA-2851-5BE9-2C73-7F25AEA540E9}"/>
              </a:ext>
            </a:extLst>
          </p:cNvPr>
          <p:cNvCxnSpPr>
            <a:stCxn id="7" idx="3"/>
            <a:endCxn id="17" idx="1"/>
          </p:cNvCxnSpPr>
          <p:nvPr/>
        </p:nvCxnSpPr>
        <p:spPr>
          <a:xfrm>
            <a:off x="8530329" y="3019149"/>
            <a:ext cx="5420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0835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C8658C4-25CF-98F9-FB38-2831CDD159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Przykład</a:t>
            </a: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442C5780-B03F-5D83-1E6C-C5DDB8FA11C9}"/>
              </a:ext>
            </a:extLst>
          </p:cNvPr>
          <p:cNvSpPr txBox="1"/>
          <p:nvPr/>
        </p:nvSpPr>
        <p:spPr>
          <a:xfrm>
            <a:off x="2976840" y="948910"/>
            <a:ext cx="6098965" cy="59106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Font typeface="+mj-lt"/>
              <a:buAutoNum type="arabicPeriod"/>
            </a:pPr>
            <a:r>
              <a:rPr lang="pl-PL" b="1">
                <a:latin typeface="+mj-lt"/>
              </a:rPr>
              <a:t>Użytkownik</a:t>
            </a:r>
            <a:r>
              <a:rPr lang="pl-PL">
                <a:latin typeface="+mj-lt"/>
              </a:rPr>
              <a:t>: Opowiedz mi o latach 60.</a:t>
            </a:r>
          </a:p>
          <a:p>
            <a:pPr algn="l">
              <a:buFont typeface="+mj-lt"/>
              <a:buAutoNum type="arabicPeriod"/>
            </a:pPr>
            <a:r>
              <a:rPr lang="pl-PL" b="1">
                <a:latin typeface="+mj-lt"/>
              </a:rPr>
              <a:t>Model</a:t>
            </a:r>
            <a:r>
              <a:rPr lang="pl-PL">
                <a:latin typeface="+mj-lt"/>
              </a:rPr>
              <a:t>: Lata 60. XX wieku były ważnym okresem w historii, charakteryzującym się rewolucjami kulturowymi, politycznymi i społecznymi.</a:t>
            </a:r>
          </a:p>
          <a:p>
            <a:pPr algn="l">
              <a:buFont typeface="+mj-lt"/>
              <a:buAutoNum type="arabicPeriod"/>
            </a:pPr>
            <a:r>
              <a:rPr lang="pl-PL" b="1">
                <a:latin typeface="+mj-lt"/>
              </a:rPr>
              <a:t>Użytkownik</a:t>
            </a:r>
            <a:r>
              <a:rPr lang="pl-PL">
                <a:latin typeface="+mj-lt"/>
              </a:rPr>
              <a:t>: Chciałbym dowiedzieć się więcej o muzyce w latach 60. w USA.</a:t>
            </a:r>
          </a:p>
          <a:p>
            <a:pPr algn="l">
              <a:buFont typeface="+mj-lt"/>
              <a:buAutoNum type="arabicPeriod"/>
            </a:pPr>
            <a:r>
              <a:rPr lang="pl-PL" b="1">
                <a:latin typeface="+mj-lt"/>
              </a:rPr>
              <a:t>Model</a:t>
            </a:r>
            <a:r>
              <a:rPr lang="pl-PL">
                <a:latin typeface="+mj-lt"/>
              </a:rPr>
              <a:t>: W latach 60. w USA muzyka rockowa i pop stały się niezwykle popularne. To dekada, w której pojawiły się takie zespoły jak The Beatles, The Rolling Stones i The Beach </a:t>
            </a:r>
            <a:r>
              <a:rPr lang="pl-PL" err="1">
                <a:latin typeface="+mj-lt"/>
              </a:rPr>
              <a:t>Boys</a:t>
            </a:r>
            <a:r>
              <a:rPr lang="pl-PL">
                <a:latin typeface="+mj-lt"/>
              </a:rPr>
              <a:t>...</a:t>
            </a:r>
          </a:p>
          <a:p>
            <a:pPr algn="l"/>
            <a:r>
              <a:rPr lang="pl-PL">
                <a:latin typeface="+mj-lt"/>
              </a:rPr>
              <a:t>Negocjacje z modelem mogą być szczególnie przydatne w sytuacjach, gdy potrzebujemy bardziej szczegółowej, precyzyjnej lub specyficznej informacji od modelu. Umożliwiają one bardziej interaktywną i dynamiczną komunikację, zamiast polegania na jednorazowych zapytaniach i odpowiedziach.</a:t>
            </a:r>
          </a:p>
        </p:txBody>
      </p:sp>
    </p:spTree>
    <p:extLst>
      <p:ext uri="{BB962C8B-B14F-4D97-AF65-F5344CB8AC3E}">
        <p14:creationId xmlns:p14="http://schemas.microsoft.com/office/powerpoint/2010/main" val="50019858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3">
            <a:extLst>
              <a:ext uri="{FF2B5EF4-FFF2-40B4-BE49-F238E27FC236}">
                <a16:creationId xmlns:a16="http://schemas.microsoft.com/office/drawing/2014/main" id="{850D2524-DCFE-0360-807A-FAFB13A3C4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360083"/>
            <a:ext cx="7200000" cy="720167"/>
          </a:xfrm>
        </p:spPr>
        <p:txBody>
          <a:bodyPr anchor="b">
            <a:normAutofit/>
          </a:bodyPr>
          <a:lstStyle/>
          <a:p>
            <a:r>
              <a:rPr lang="pl-PL" dirty="0"/>
              <a:t>Wykorzystanie LLM</a:t>
            </a:r>
            <a:endParaRPr lang="en-US" dirty="0"/>
          </a:p>
        </p:txBody>
      </p:sp>
      <p:pic>
        <p:nvPicPr>
          <p:cNvPr id="6" name="Content Placeholder 5" descr="Robot with solid fill">
            <a:extLst>
              <a:ext uri="{FF2B5EF4-FFF2-40B4-BE49-F238E27FC236}">
                <a16:creationId xmlns:a16="http://schemas.microsoft.com/office/drawing/2014/main" id="{B1AEDF69-619D-6AA1-7250-0B796715948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15585" y="1810187"/>
            <a:ext cx="3024366" cy="3024366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1E0FD4-E28E-A1BE-8846-6F33C4E5F4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8000" y="6375018"/>
            <a:ext cx="324000" cy="144033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986206E-8722-B746-901D-E11776288D95}" type="slidenum">
              <a:rPr lang="pl-PL" smtClean="0"/>
              <a:pPr>
                <a:spcAft>
                  <a:spcPts val="600"/>
                </a:spcAft>
              </a:pPr>
              <a:t>32</a:t>
            </a:fld>
            <a:endParaRPr lang="pl-PL"/>
          </a:p>
        </p:txBody>
      </p:sp>
      <p:graphicFrame>
        <p:nvGraphicFramePr>
          <p:cNvPr id="17" name="Content Placeholder 1">
            <a:extLst>
              <a:ext uri="{FF2B5EF4-FFF2-40B4-BE49-F238E27FC236}">
                <a16:creationId xmlns:a16="http://schemas.microsoft.com/office/drawing/2014/main" id="{14F7DCE2-061C-0CD6-4669-CDB35F9B855C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814032210"/>
              </p:ext>
            </p:extLst>
          </p:nvPr>
        </p:nvGraphicFramePr>
        <p:xfrm>
          <a:off x="6192000" y="1332000"/>
          <a:ext cx="5364000" cy="442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70638964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6930938A-04EF-06E4-AE9A-11AEA0B60F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A co możemy teraz ? </a:t>
            </a:r>
          </a:p>
        </p:txBody>
      </p:sp>
    </p:spTree>
    <p:extLst>
      <p:ext uri="{BB962C8B-B14F-4D97-AF65-F5344CB8AC3E}">
        <p14:creationId xmlns:p14="http://schemas.microsoft.com/office/powerpoint/2010/main" val="82386641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5936DCF3-4A4C-DA72-2157-9626122DC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A co możemy teraz</a:t>
            </a:r>
          </a:p>
        </p:txBody>
      </p:sp>
    </p:spTree>
    <p:extLst>
      <p:ext uri="{BB962C8B-B14F-4D97-AF65-F5344CB8AC3E}">
        <p14:creationId xmlns:p14="http://schemas.microsoft.com/office/powerpoint/2010/main" val="307430443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C0226B-2E43-8159-BA2C-2A654F6E5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hatbot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E97701-76E8-DD65-BCF8-58EC72861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86206E-8722-B746-901D-E11776288D95}" type="slidenum">
              <a:rPr lang="pl-PL" smtClean="0"/>
              <a:t>35</a:t>
            </a:fld>
            <a:endParaRPr lang="pl-PL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C15F3D-6A4A-8186-B8FE-A2ED384235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8457" y="1254771"/>
            <a:ext cx="6830008" cy="369958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BD577D3-41E3-AB86-5471-C60BCDD84560}"/>
              </a:ext>
            </a:extLst>
          </p:cNvPr>
          <p:cNvSpPr/>
          <p:nvPr/>
        </p:nvSpPr>
        <p:spPr>
          <a:xfrm>
            <a:off x="4133462" y="3797559"/>
            <a:ext cx="2442830" cy="395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C0F29B-9D2A-AD6F-4F0D-72EE9E5A5A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7340" y="3318312"/>
            <a:ext cx="5807835" cy="3429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47349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49915-EBA0-EB4E-F24E-B6AAAC7E82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hatbot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C37B8D-3C6B-7D3F-6920-93E1AEEFB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86206E-8722-B746-901D-E11776288D95}" type="slidenum">
              <a:rPr lang="pl-PL" smtClean="0"/>
              <a:t>36</a:t>
            </a:fld>
            <a:endParaRPr lang="pl-PL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A46C53-FB80-8488-B30F-DDCB22C99F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999" y="1175074"/>
            <a:ext cx="5461639" cy="295838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C479696-8F27-A618-A257-4F291F5987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2572" y="2936224"/>
            <a:ext cx="6802081" cy="3684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75453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A2AFD076-E2EE-97C9-717C-66572F8FD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Przyszłość</a:t>
            </a:r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DA2BD6FA-DC03-968C-8F0D-C65EBE57F8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7894" y="1504617"/>
            <a:ext cx="9091676" cy="51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91873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D4833C95-B837-6857-9047-40A9E6176E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pl-PL"/>
              <a:t>- Analiza obrazu za pomocą LLM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51BAC4C4-F97A-B907-52EB-1DDD8D5C7E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Przyszłość</a:t>
            </a: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1E33318A-41DB-2A33-27D5-14BE17E59E4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5152" y="3277359"/>
            <a:ext cx="304871" cy="304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61" tIns="45731" rIns="91461" bIns="45731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2DDE240F-5AB6-A12F-C04E-C2EC17BCA55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7587" y="3429794"/>
            <a:ext cx="304871" cy="304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61" tIns="45731" rIns="91461" bIns="45731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7BECA77E-ED1E-2E16-E46F-7527E0E590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570" y="1548171"/>
            <a:ext cx="7774199" cy="4372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46172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E768CE-8A22-75E2-33AF-D49CDEBF8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pPr/>
              <a:t>39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08EFA42-B15C-E0AA-877F-513D05673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Szkolenia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A50442-2335-841B-9162-E48398C8E1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2571" y="1380756"/>
            <a:ext cx="3769742" cy="3769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31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wal 12">
            <a:extLst>
              <a:ext uri="{FF2B5EF4-FFF2-40B4-BE49-F238E27FC236}">
                <a16:creationId xmlns:a16="http://schemas.microsoft.com/office/drawing/2014/main" id="{45C65426-FE6A-DD48-2BCA-E8E9091BEAA3}"/>
              </a:ext>
            </a:extLst>
          </p:cNvPr>
          <p:cNvSpPr/>
          <p:nvPr/>
        </p:nvSpPr>
        <p:spPr>
          <a:xfrm>
            <a:off x="294176" y="277452"/>
            <a:ext cx="7532330" cy="6502933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" name="Owal 4">
            <a:extLst>
              <a:ext uri="{FF2B5EF4-FFF2-40B4-BE49-F238E27FC236}">
                <a16:creationId xmlns:a16="http://schemas.microsoft.com/office/drawing/2014/main" id="{962B814C-1409-6129-A03F-17BCD91DB208}"/>
              </a:ext>
            </a:extLst>
          </p:cNvPr>
          <p:cNvSpPr/>
          <p:nvPr/>
        </p:nvSpPr>
        <p:spPr>
          <a:xfrm>
            <a:off x="36300" y="336583"/>
            <a:ext cx="5521889" cy="4615056"/>
          </a:xfrm>
          <a:prstGeom prst="ellipse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" name="Owal 3">
            <a:extLst>
              <a:ext uri="{FF2B5EF4-FFF2-40B4-BE49-F238E27FC236}">
                <a16:creationId xmlns:a16="http://schemas.microsoft.com/office/drawing/2014/main" id="{1C7966E2-E6CE-FE42-E99F-DC1210C33282}"/>
              </a:ext>
            </a:extLst>
          </p:cNvPr>
          <p:cNvSpPr/>
          <p:nvPr/>
        </p:nvSpPr>
        <p:spPr>
          <a:xfrm>
            <a:off x="-479749" y="102691"/>
            <a:ext cx="4078421" cy="3574452"/>
          </a:xfrm>
          <a:prstGeom prst="ellipse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l-PL" b="1" err="1"/>
              <a:t>Large</a:t>
            </a:r>
            <a:r>
              <a:rPr lang="pl-PL" b="1"/>
              <a:t> Language </a:t>
            </a:r>
            <a:r>
              <a:rPr lang="pl-PL" b="1" err="1"/>
              <a:t>Models</a:t>
            </a:r>
            <a:endParaRPr lang="pl-PL" b="1">
              <a:cs typeface="Arial"/>
            </a:endParaRP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C0E6F0E8-2F4F-54C9-9129-C1C23B0A3AA8}"/>
              </a:ext>
            </a:extLst>
          </p:cNvPr>
          <p:cNvSpPr txBox="1"/>
          <p:nvPr/>
        </p:nvSpPr>
        <p:spPr>
          <a:xfrm>
            <a:off x="3541931" y="1187028"/>
            <a:ext cx="16192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b="1" dirty="0" err="1"/>
              <a:t>Text</a:t>
            </a:r>
            <a:r>
              <a:rPr lang="pl-PL" sz="1200" b="1" dirty="0"/>
              <a:t> </a:t>
            </a:r>
            <a:r>
              <a:rPr lang="pl-PL" sz="1200" b="1" dirty="0" err="1"/>
              <a:t>classification</a:t>
            </a:r>
            <a:endParaRPr lang="pl-PL" sz="1200" b="1" dirty="0"/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CB2AFD84-2B62-FE95-5F66-7EE1417831E7}"/>
              </a:ext>
            </a:extLst>
          </p:cNvPr>
          <p:cNvSpPr txBox="1"/>
          <p:nvPr/>
        </p:nvSpPr>
        <p:spPr>
          <a:xfrm>
            <a:off x="3728635" y="1960122"/>
            <a:ext cx="1287923" cy="277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b="1" dirty="0" err="1"/>
              <a:t>Classification</a:t>
            </a:r>
            <a:endParaRPr lang="pl-PL" sz="1200" b="1" dirty="0"/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5DE223B5-59F4-F9EB-C804-93EE4134115F}"/>
              </a:ext>
            </a:extLst>
          </p:cNvPr>
          <p:cNvSpPr txBox="1"/>
          <p:nvPr/>
        </p:nvSpPr>
        <p:spPr>
          <a:xfrm>
            <a:off x="3409719" y="2573753"/>
            <a:ext cx="1844778" cy="277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b="1" dirty="0"/>
              <a:t>Knowledge </a:t>
            </a:r>
            <a:r>
              <a:rPr lang="pl-PL" sz="1200" b="1" dirty="0" err="1"/>
              <a:t>Answering</a:t>
            </a:r>
            <a:endParaRPr lang="pl-PL" sz="1200" b="1" dirty="0"/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EB25A886-122E-672E-3F81-421157584077}"/>
              </a:ext>
            </a:extLst>
          </p:cNvPr>
          <p:cNvSpPr txBox="1"/>
          <p:nvPr/>
        </p:nvSpPr>
        <p:spPr>
          <a:xfrm>
            <a:off x="3057435" y="3162138"/>
            <a:ext cx="1015718" cy="277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b="1" err="1"/>
              <a:t>Translation</a:t>
            </a:r>
            <a:endParaRPr lang="pl-PL" sz="1200" b="1"/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1077FE48-843A-876D-1CB3-AC47CBF56E08}"/>
              </a:ext>
            </a:extLst>
          </p:cNvPr>
          <p:cNvSpPr txBox="1"/>
          <p:nvPr/>
        </p:nvSpPr>
        <p:spPr>
          <a:xfrm>
            <a:off x="2443028" y="3657061"/>
            <a:ext cx="1015718" cy="277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b="1" err="1"/>
              <a:t>Transcripts</a:t>
            </a:r>
            <a:endParaRPr lang="pl-PL" sz="1200" b="1"/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8945B90C-69AF-F094-D8B5-787C0D1A1CC0}"/>
              </a:ext>
            </a:extLst>
          </p:cNvPr>
          <p:cNvSpPr txBox="1"/>
          <p:nvPr/>
        </p:nvSpPr>
        <p:spPr>
          <a:xfrm>
            <a:off x="1085885" y="4024711"/>
            <a:ext cx="1536800" cy="277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b="1"/>
              <a:t>Dialog </a:t>
            </a:r>
            <a:r>
              <a:rPr lang="pl-PL" sz="1200" b="1" err="1"/>
              <a:t>generation</a:t>
            </a:r>
            <a:endParaRPr lang="pl-PL" sz="1200" b="1"/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9FDCB25D-316B-C1E9-9C3C-BEFD1DA56CD1}"/>
              </a:ext>
            </a:extLst>
          </p:cNvPr>
          <p:cNvSpPr txBox="1"/>
          <p:nvPr/>
        </p:nvSpPr>
        <p:spPr>
          <a:xfrm>
            <a:off x="85724" y="3495558"/>
            <a:ext cx="1536800" cy="277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b="1"/>
              <a:t>Data </a:t>
            </a:r>
            <a:r>
              <a:rPr lang="pl-PL" sz="1200" b="1" err="1"/>
              <a:t>generation</a:t>
            </a:r>
            <a:endParaRPr lang="pl-PL" sz="1200" b="1"/>
          </a:p>
        </p:txBody>
      </p:sp>
      <p:pic>
        <p:nvPicPr>
          <p:cNvPr id="1026" name="Picture 2" descr="LLAMA 2 - Get Started With Meta's Newest Open Source ChatGPT Contender -  YouTube">
            <a:extLst>
              <a:ext uri="{FF2B5EF4-FFF2-40B4-BE49-F238E27FC236}">
                <a16:creationId xmlns:a16="http://schemas.microsoft.com/office/drawing/2014/main" id="{AD757749-FF3B-6203-3A2E-BD38260DF2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7595" y="1755164"/>
            <a:ext cx="1004853" cy="562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OpenAI i ChatGPT: Wszystko, co chcielibyście wiedzieć | AppMaster">
            <a:extLst>
              <a:ext uri="{FF2B5EF4-FFF2-40B4-BE49-F238E27FC236}">
                <a16:creationId xmlns:a16="http://schemas.microsoft.com/office/drawing/2014/main" id="{4B65C094-D27C-0591-0140-6D40BC0217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696" y="2785784"/>
            <a:ext cx="843090" cy="472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1000logos.net/wp-content/uploads/2023/05/Bard-AI-L...">
            <a:extLst>
              <a:ext uri="{FF2B5EF4-FFF2-40B4-BE49-F238E27FC236}">
                <a16:creationId xmlns:a16="http://schemas.microsoft.com/office/drawing/2014/main" id="{75EE9AA4-2AD2-4EEE-645D-43A2F6B51D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6462" y="3798995"/>
            <a:ext cx="843090" cy="474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ole tekstowe 15">
            <a:extLst>
              <a:ext uri="{FF2B5EF4-FFF2-40B4-BE49-F238E27FC236}">
                <a16:creationId xmlns:a16="http://schemas.microsoft.com/office/drawing/2014/main" id="{A041AC2E-8053-16AB-CD66-52C8F1DD019F}"/>
              </a:ext>
            </a:extLst>
          </p:cNvPr>
          <p:cNvSpPr txBox="1"/>
          <p:nvPr/>
        </p:nvSpPr>
        <p:spPr>
          <a:xfrm>
            <a:off x="5222591" y="4674576"/>
            <a:ext cx="640851" cy="277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b="1" dirty="0"/>
              <a:t>Godel</a:t>
            </a:r>
          </a:p>
        </p:txBody>
      </p:sp>
      <p:sp>
        <p:nvSpPr>
          <p:cNvPr id="17" name="pole tekstowe 16">
            <a:extLst>
              <a:ext uri="{FF2B5EF4-FFF2-40B4-BE49-F238E27FC236}">
                <a16:creationId xmlns:a16="http://schemas.microsoft.com/office/drawing/2014/main" id="{1E8310FF-61EF-BC72-5099-C149CD855ED7}"/>
              </a:ext>
            </a:extLst>
          </p:cNvPr>
          <p:cNvSpPr txBox="1"/>
          <p:nvPr/>
        </p:nvSpPr>
        <p:spPr>
          <a:xfrm>
            <a:off x="4688747" y="5167653"/>
            <a:ext cx="1057715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l-PL" sz="1200" b="1" dirty="0"/>
              <a:t>GPT4ALL</a:t>
            </a:r>
            <a:endParaRPr lang="pl-PL" sz="1200" b="1" dirty="0">
              <a:cs typeface="Arial"/>
            </a:endParaRPr>
          </a:p>
        </p:txBody>
      </p:sp>
      <p:sp>
        <p:nvSpPr>
          <p:cNvPr id="18" name="AutoShape 10" descr="Bloom AI">
            <a:extLst>
              <a:ext uri="{FF2B5EF4-FFF2-40B4-BE49-F238E27FC236}">
                <a16:creationId xmlns:a16="http://schemas.microsoft.com/office/drawing/2014/main" id="{751BAB87-56D6-B3C3-86F1-35EC4961B2B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5152" y="3277359"/>
            <a:ext cx="304871" cy="304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61" tIns="45731" rIns="91461" bIns="45731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9" name="AutoShape 12" descr="Bloom AI">
            <a:extLst>
              <a:ext uri="{FF2B5EF4-FFF2-40B4-BE49-F238E27FC236}">
                <a16:creationId xmlns:a16="http://schemas.microsoft.com/office/drawing/2014/main" id="{938F7B6C-0834-0A77-E48A-A6A72437590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7587" y="3429794"/>
            <a:ext cx="304871" cy="304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61" tIns="45731" rIns="91461" bIns="45731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pic>
        <p:nvPicPr>
          <p:cNvPr id="1038" name="Picture 14" descr="BLOOM">
            <a:extLst>
              <a:ext uri="{FF2B5EF4-FFF2-40B4-BE49-F238E27FC236}">
                <a16:creationId xmlns:a16="http://schemas.microsoft.com/office/drawing/2014/main" id="{4F51D04E-66C9-427A-A9DD-2B754694D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5651" y="5262541"/>
            <a:ext cx="1149617" cy="487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Creating A Telegram Chatbot Using BlenderBot From Meta AI | by Cobus  Greyling | Medium">
            <a:extLst>
              <a:ext uri="{FF2B5EF4-FFF2-40B4-BE49-F238E27FC236}">
                <a16:creationId xmlns:a16="http://schemas.microsoft.com/office/drawing/2014/main" id="{25017DF9-B53D-CFAA-C929-65AA5F44DF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4053" y="5564672"/>
            <a:ext cx="827508" cy="536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182494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A891B67-747A-7F8A-0423-A8C97D618E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0080" y="1378653"/>
            <a:ext cx="4428000" cy="4428000"/>
          </a:xfrm>
          <a:prstGeom prst="rect">
            <a:avLst/>
          </a:prstGeom>
          <a:noFill/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CB09BC-9A96-F9CA-B345-97D70FED5C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8000" y="6375018"/>
            <a:ext cx="324000" cy="144033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D14BCCD3-0010-4FBA-B965-2126ADC31932}" type="slidenum">
              <a:rPr lang="en-GB" smtClean="0"/>
              <a:pPr>
                <a:spcAft>
                  <a:spcPts val="600"/>
                </a:spcAft>
              </a:pPr>
              <a:t>40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1EE96A-0DF0-ECAB-654A-27A4C4D01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360083"/>
            <a:ext cx="7200000" cy="720167"/>
          </a:xfrm>
        </p:spPr>
        <p:txBody>
          <a:bodyPr anchor="b">
            <a:normAutofit/>
          </a:bodyPr>
          <a:lstStyle/>
          <a:p>
            <a:r>
              <a:rPr lang="pl-PL" dirty="0" err="1"/>
              <a:t>Youtub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390333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erson standing on a rock overlooking a body of water&#10;&#10;Description automatically generated">
            <a:extLst>
              <a:ext uri="{FF2B5EF4-FFF2-40B4-BE49-F238E27FC236}">
                <a16:creationId xmlns:a16="http://schemas.microsoft.com/office/drawing/2014/main" id="{C05EE727-285D-BDE4-D3A2-7F52DB9F26F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/>
          <a:srcRect l="20373" r="-1" b="-1"/>
          <a:stretch/>
        </p:blipFill>
        <p:spPr>
          <a:xfrm>
            <a:off x="-1" y="-1"/>
            <a:ext cx="8182879" cy="6859587"/>
          </a:xfrm>
          <a:noFill/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5A696B75-BDE6-78C3-7222-E47771AE0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01577" y="2707452"/>
            <a:ext cx="3495313" cy="1051915"/>
          </a:xfrm>
        </p:spPr>
        <p:txBody>
          <a:bodyPr/>
          <a:lstStyle/>
          <a:p>
            <a:r>
              <a:rPr lang="en-US" sz="2800" err="1">
                <a:cs typeface="Arial"/>
              </a:rPr>
              <a:t>Dziękuję</a:t>
            </a:r>
            <a:r>
              <a:rPr lang="en-US" sz="2800" dirty="0">
                <a:cs typeface="Arial"/>
              </a:rPr>
              <a:t> za </a:t>
            </a:r>
            <a:r>
              <a:rPr lang="en-US" sz="2800" err="1">
                <a:cs typeface="Arial"/>
              </a:rPr>
              <a:t>uwagę</a:t>
            </a:r>
            <a:r>
              <a:rPr lang="en-US" sz="2800" dirty="0">
                <a:cs typeface="Arial"/>
              </a:rPr>
              <a:t>!</a:t>
            </a:r>
            <a:endParaRPr lang="en-US" sz="2800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882B79-1536-1148-1CF9-58537946C2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8000" y="6375018"/>
            <a:ext cx="324000" cy="144033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986206E-8722-B746-901D-E11776288D95}" type="slidenum">
              <a:rPr lang="pl-PL" smtClean="0"/>
              <a:pPr>
                <a:spcAft>
                  <a:spcPts val="600"/>
                </a:spcAft>
              </a:pPr>
              <a:t>4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521014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5DFBAD7-BD8C-79D5-6DCA-560F8E14D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LLM</a:t>
            </a:r>
          </a:p>
        </p:txBody>
      </p:sp>
      <p:pic>
        <p:nvPicPr>
          <p:cNvPr id="1026" name="Picture 2" descr="The Future of Large Language Models (LLMs): Strategy, Opportunities and  Challenges">
            <a:extLst>
              <a:ext uri="{FF2B5EF4-FFF2-40B4-BE49-F238E27FC236}">
                <a16:creationId xmlns:a16="http://schemas.microsoft.com/office/drawing/2014/main" id="{08A68B06-2C47-2C6C-64F4-4D9556190F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980" y="1454139"/>
            <a:ext cx="10088444" cy="4760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21234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 descr="Obraz zawierający meble, kreskówka, zabawka, w pomieszczeniu&#10;&#10;Opis wygenerowany automatycznie">
            <a:extLst>
              <a:ext uri="{FF2B5EF4-FFF2-40B4-BE49-F238E27FC236}">
                <a16:creationId xmlns:a16="http://schemas.microsoft.com/office/drawing/2014/main" id="{18EA4DBA-D442-12CC-43B8-351621CC32C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980" r="2" b="2"/>
          <a:stretch/>
        </p:blipFill>
        <p:spPr>
          <a:xfrm>
            <a:off x="172" y="-4"/>
            <a:ext cx="7536384" cy="6859571"/>
          </a:xfrm>
          <a:custGeom>
            <a:avLst/>
            <a:gdLst/>
            <a:ahLst/>
            <a:cxnLst/>
            <a:rect l="l" t="t" r="r" b="b"/>
            <a:pathLst>
              <a:path w="7534640" h="6857984">
                <a:moveTo>
                  <a:pt x="0" y="0"/>
                </a:moveTo>
                <a:lnTo>
                  <a:pt x="7534640" y="0"/>
                </a:lnTo>
                <a:lnTo>
                  <a:pt x="7534640" y="3832811"/>
                </a:lnTo>
                <a:lnTo>
                  <a:pt x="7344853" y="3826712"/>
                </a:lnTo>
                <a:cubicBezTo>
                  <a:pt x="7344853" y="3826712"/>
                  <a:pt x="7341511" y="3826712"/>
                  <a:pt x="7341511" y="3826712"/>
                </a:cubicBezTo>
                <a:cubicBezTo>
                  <a:pt x="7274667" y="3823370"/>
                  <a:pt x="7211169" y="3823370"/>
                  <a:pt x="7144324" y="3820027"/>
                </a:cubicBezTo>
                <a:cubicBezTo>
                  <a:pt x="6913719" y="3820027"/>
                  <a:pt x="6683113" y="3820027"/>
                  <a:pt x="6455848" y="3820027"/>
                </a:cubicBezTo>
                <a:cubicBezTo>
                  <a:pt x="6231926" y="3910265"/>
                  <a:pt x="5987951" y="3833396"/>
                  <a:pt x="5767372" y="3903581"/>
                </a:cubicBezTo>
                <a:cubicBezTo>
                  <a:pt x="5533423" y="3900239"/>
                  <a:pt x="5312845" y="3970423"/>
                  <a:pt x="5082238" y="4000503"/>
                </a:cubicBezTo>
                <a:cubicBezTo>
                  <a:pt x="4908446" y="4013871"/>
                  <a:pt x="4731314" y="3997160"/>
                  <a:pt x="4570892" y="4067345"/>
                </a:cubicBezTo>
                <a:cubicBezTo>
                  <a:pt x="4447233" y="4124161"/>
                  <a:pt x="4350312" y="4197688"/>
                  <a:pt x="4483996" y="4348083"/>
                </a:cubicBezTo>
                <a:cubicBezTo>
                  <a:pt x="4644419" y="4344742"/>
                  <a:pt x="4627708" y="4598742"/>
                  <a:pt x="4788129" y="4561979"/>
                </a:cubicBezTo>
                <a:cubicBezTo>
                  <a:pt x="4754709" y="4678954"/>
                  <a:pt x="4641076" y="4618795"/>
                  <a:pt x="4600971" y="4705690"/>
                </a:cubicBezTo>
                <a:cubicBezTo>
                  <a:pt x="4684524" y="4779217"/>
                  <a:pt x="4844945" y="4725744"/>
                  <a:pt x="4871683" y="4879480"/>
                </a:cubicBezTo>
                <a:cubicBezTo>
                  <a:pt x="4838262" y="5039902"/>
                  <a:pt x="4945210" y="5019849"/>
                  <a:pt x="5032105" y="5029876"/>
                </a:cubicBezTo>
                <a:cubicBezTo>
                  <a:pt x="5239317" y="5049930"/>
                  <a:pt x="5439843" y="5063297"/>
                  <a:pt x="5643713" y="5096719"/>
                </a:cubicBezTo>
                <a:cubicBezTo>
                  <a:pt x="5693844" y="5106745"/>
                  <a:pt x="5810819" y="5083350"/>
                  <a:pt x="5800794" y="5186956"/>
                </a:cubicBezTo>
                <a:cubicBezTo>
                  <a:pt x="5790767" y="5270508"/>
                  <a:pt x="5700529" y="5240431"/>
                  <a:pt x="5643713" y="5243772"/>
                </a:cubicBezTo>
                <a:cubicBezTo>
                  <a:pt x="5329553" y="5283879"/>
                  <a:pt x="5012052" y="5220378"/>
                  <a:pt x="4701235" y="5223719"/>
                </a:cubicBezTo>
                <a:cubicBezTo>
                  <a:pt x="4664472" y="5223719"/>
                  <a:pt x="4657787" y="5334009"/>
                  <a:pt x="4577576" y="5297246"/>
                </a:cubicBezTo>
                <a:cubicBezTo>
                  <a:pt x="4788129" y="5397510"/>
                  <a:pt x="5767372" y="5424248"/>
                  <a:pt x="6094900" y="5477721"/>
                </a:cubicBezTo>
                <a:cubicBezTo>
                  <a:pt x="5754004" y="5858724"/>
                  <a:pt x="5429817" y="5628117"/>
                  <a:pt x="5159105" y="5842012"/>
                </a:cubicBezTo>
                <a:cubicBezTo>
                  <a:pt x="5159105" y="5842012"/>
                  <a:pt x="5212580" y="5842012"/>
                  <a:pt x="5443187" y="5912197"/>
                </a:cubicBezTo>
                <a:cubicBezTo>
                  <a:pt x="5627002" y="5969012"/>
                  <a:pt x="5536765" y="6049223"/>
                  <a:pt x="6001321" y="6202962"/>
                </a:cubicBezTo>
                <a:cubicBezTo>
                  <a:pt x="5824188" y="6253093"/>
                  <a:pt x="5593581" y="6156172"/>
                  <a:pt x="5506685" y="6416857"/>
                </a:cubicBezTo>
                <a:cubicBezTo>
                  <a:pt x="5643713" y="6463648"/>
                  <a:pt x="5807477" y="6420200"/>
                  <a:pt x="5904398" y="6543858"/>
                </a:cubicBezTo>
                <a:cubicBezTo>
                  <a:pt x="5934478" y="6580622"/>
                  <a:pt x="5964557" y="6604017"/>
                  <a:pt x="6001321" y="6624068"/>
                </a:cubicBezTo>
                <a:cubicBezTo>
                  <a:pt x="5984612" y="6630754"/>
                  <a:pt x="5964557" y="6637437"/>
                  <a:pt x="5951188" y="6644121"/>
                </a:cubicBezTo>
                <a:cubicBezTo>
                  <a:pt x="5977925" y="6667518"/>
                  <a:pt x="6663060" y="6794517"/>
                  <a:pt x="6836850" y="6797860"/>
                </a:cubicBezTo>
                <a:cubicBezTo>
                  <a:pt x="6761652" y="6822926"/>
                  <a:pt x="6636845" y="6844075"/>
                  <a:pt x="6553814" y="6856412"/>
                </a:cubicBezTo>
                <a:lnTo>
                  <a:pt x="6542822" y="6857984"/>
                </a:lnTo>
                <a:lnTo>
                  <a:pt x="0" y="6857984"/>
                </a:lnTo>
                <a:close/>
              </a:path>
            </a:pathLst>
          </a:custGeom>
        </p:spPr>
      </p:pic>
      <p:sp>
        <p:nvSpPr>
          <p:cNvPr id="2" name="Tytuł 1">
            <a:extLst>
              <a:ext uri="{FF2B5EF4-FFF2-40B4-BE49-F238E27FC236}">
                <a16:creationId xmlns:a16="http://schemas.microsoft.com/office/drawing/2014/main" id="{B906D243-FEF9-1265-DAB7-9E4B68169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5295" y="3963318"/>
            <a:ext cx="5507088" cy="1690800"/>
          </a:xfrm>
        </p:spPr>
        <p:txBody>
          <a:bodyPr vert="horz" lIns="91461" tIns="45731" rIns="91461" bIns="45731" rtlCol="0" anchor="b" anchorCtr="0">
            <a:normAutofit/>
          </a:bodyPr>
          <a:lstStyle/>
          <a:p>
            <a:r>
              <a:rPr lang="pl-PL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How to chat with LLM </a:t>
            </a:r>
            <a:r>
              <a:rPr lang="pl-PL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Models</a:t>
            </a:r>
            <a:r>
              <a:rPr lang="pl-PL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?</a:t>
            </a:r>
          </a:p>
        </p:txBody>
      </p:sp>
      <p:pic>
        <p:nvPicPr>
          <p:cNvPr id="7" name="Obraz 6" descr="Obraz zawierający meble, kreskówka, obuwie, krzesło&#10;&#10;Opis wygenerowany automatycznie">
            <a:extLst>
              <a:ext uri="{FF2B5EF4-FFF2-40B4-BE49-F238E27FC236}">
                <a16:creationId xmlns:a16="http://schemas.microsoft.com/office/drawing/2014/main" id="{9961C7EF-DB13-C464-82E5-E8BEBCB39E6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960" r="-1" b="1608"/>
          <a:stretch/>
        </p:blipFill>
        <p:spPr>
          <a:xfrm>
            <a:off x="7655489" y="7"/>
            <a:ext cx="4539514" cy="3878145"/>
          </a:xfrm>
          <a:custGeom>
            <a:avLst/>
            <a:gdLst/>
            <a:ahLst/>
            <a:cxnLst/>
            <a:rect l="l" t="t" r="r" b="b"/>
            <a:pathLst>
              <a:path w="4538463" h="3877247">
                <a:moveTo>
                  <a:pt x="0" y="0"/>
                </a:moveTo>
                <a:lnTo>
                  <a:pt x="4538463" y="0"/>
                </a:lnTo>
                <a:lnTo>
                  <a:pt x="4538463" y="3437173"/>
                </a:lnTo>
                <a:lnTo>
                  <a:pt x="4530710" y="3429000"/>
                </a:lnTo>
                <a:cubicBezTo>
                  <a:pt x="4370289" y="3495842"/>
                  <a:pt x="4239946" y="3686344"/>
                  <a:pt x="4056129" y="3636211"/>
                </a:cubicBezTo>
                <a:cubicBezTo>
                  <a:pt x="3872313" y="3589422"/>
                  <a:pt x="3788760" y="3830055"/>
                  <a:pt x="3618310" y="3756528"/>
                </a:cubicBezTo>
                <a:cubicBezTo>
                  <a:pt x="3394389" y="3823371"/>
                  <a:pt x="3163783" y="3823371"/>
                  <a:pt x="2933176" y="3810002"/>
                </a:cubicBezTo>
                <a:cubicBezTo>
                  <a:pt x="2702570" y="3840081"/>
                  <a:pt x="2471962" y="3873503"/>
                  <a:pt x="2238015" y="3850107"/>
                </a:cubicBezTo>
                <a:cubicBezTo>
                  <a:pt x="2007408" y="3870161"/>
                  <a:pt x="1783486" y="3883529"/>
                  <a:pt x="1552880" y="3863476"/>
                </a:cubicBezTo>
                <a:cubicBezTo>
                  <a:pt x="1322274" y="3886870"/>
                  <a:pt x="1091667" y="3876844"/>
                  <a:pt x="864402" y="3860134"/>
                </a:cubicBezTo>
                <a:cubicBezTo>
                  <a:pt x="757455" y="3860134"/>
                  <a:pt x="653849" y="3856792"/>
                  <a:pt x="546902" y="3856792"/>
                </a:cubicBezTo>
                <a:cubicBezTo>
                  <a:pt x="404861" y="3850108"/>
                  <a:pt x="262821" y="3845095"/>
                  <a:pt x="120363" y="3840499"/>
                </a:cubicBezTo>
                <a:lnTo>
                  <a:pt x="0" y="3836632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874800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F4D1941-691F-0D4F-2ABD-4357EA262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8636" y="882232"/>
            <a:ext cx="1615627" cy="631226"/>
          </a:xfrm>
        </p:spPr>
        <p:txBody>
          <a:bodyPr vert="horz" lIns="91461" tIns="45731" rIns="91461" bIns="45731" rtlCol="0" anchor="t" anchorCtr="0">
            <a:normAutofit/>
          </a:bodyPr>
          <a:lstStyle/>
          <a:p>
            <a:r>
              <a:rPr lang="en-US" sz="3201" dirty="0">
                <a:solidFill>
                  <a:schemeClr val="tx1"/>
                </a:solidFill>
              </a:rPr>
              <a:t>Token</a:t>
            </a:r>
            <a:r>
              <a:rPr lang="pl-PL" sz="3201" dirty="0">
                <a:solidFill>
                  <a:schemeClr val="tx1"/>
                </a:solidFill>
              </a:rPr>
              <a:t>s</a:t>
            </a:r>
            <a:endParaRPr lang="en-US" sz="3201" dirty="0">
              <a:solidFill>
                <a:schemeClr val="tx1"/>
              </a:solidFill>
            </a:endParaRPr>
          </a:p>
        </p:txBody>
      </p:sp>
      <p:pic>
        <p:nvPicPr>
          <p:cNvPr id="13" name="Obraz 12" descr="Obraz zawierający tekst, oprogramowanie, zrzut ekranu, Strona internetowa&#10;&#10;Opis wygenerowany automatycznie">
            <a:extLst>
              <a:ext uri="{FF2B5EF4-FFF2-40B4-BE49-F238E27FC236}">
                <a16:creationId xmlns:a16="http://schemas.microsoft.com/office/drawing/2014/main" id="{F5FE1E1D-1BB7-7913-1E0D-4AE396961A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566" y="1682793"/>
            <a:ext cx="6223335" cy="3500626"/>
          </a:xfrm>
          <a:prstGeom prst="rect">
            <a:avLst/>
          </a:prstGeom>
        </p:spPr>
      </p:pic>
      <p:sp>
        <p:nvSpPr>
          <p:cNvPr id="9" name="pole tekstowe 8">
            <a:extLst>
              <a:ext uri="{FF2B5EF4-FFF2-40B4-BE49-F238E27FC236}">
                <a16:creationId xmlns:a16="http://schemas.microsoft.com/office/drawing/2014/main" id="{7D8EB7BE-AB85-2520-E01D-A9A70E5D7B26}"/>
              </a:ext>
            </a:extLst>
          </p:cNvPr>
          <p:cNvSpPr txBox="1"/>
          <p:nvPr/>
        </p:nvSpPr>
        <p:spPr>
          <a:xfrm>
            <a:off x="7262949" y="1927922"/>
            <a:ext cx="4593671" cy="722581"/>
          </a:xfrm>
          <a:prstGeom prst="rect">
            <a:avLst/>
          </a:prstGeom>
        </p:spPr>
        <p:txBody>
          <a:bodyPr vert="horz" lIns="91461" tIns="45731" rIns="91461" bIns="45731" rtlCol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/>
              <a:t>https://</a:t>
            </a:r>
            <a:r>
              <a:rPr lang="en-US" sz="2000" err="1"/>
              <a:t>platform.openai.com</a:t>
            </a:r>
            <a:r>
              <a:rPr lang="en-US" sz="2000"/>
              <a:t>/tokenizer</a:t>
            </a:r>
          </a:p>
        </p:txBody>
      </p:sp>
    </p:spTree>
    <p:extLst>
      <p:ext uri="{BB962C8B-B14F-4D97-AF65-F5344CB8AC3E}">
        <p14:creationId xmlns:p14="http://schemas.microsoft.com/office/powerpoint/2010/main" val="20866099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A19F1AD-8804-AFA9-B291-09575A93B36B}"/>
              </a:ext>
            </a:extLst>
          </p:cNvPr>
          <p:cNvSpPr/>
          <p:nvPr/>
        </p:nvSpPr>
        <p:spPr>
          <a:xfrm>
            <a:off x="4046639" y="2485157"/>
            <a:ext cx="2947082" cy="12379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LL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BA09A4F-2219-6D1D-9983-C1B78D38CC62}"/>
              </a:ext>
            </a:extLst>
          </p:cNvPr>
          <p:cNvSpPr txBox="1"/>
          <p:nvPr/>
        </p:nvSpPr>
        <p:spPr>
          <a:xfrm>
            <a:off x="272712" y="2106500"/>
            <a:ext cx="1773793" cy="415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 err="1"/>
              <a:t>Cat</a:t>
            </a:r>
            <a:r>
              <a:rPr lang="pl-PL" dirty="0"/>
              <a:t> </a:t>
            </a:r>
            <a:r>
              <a:rPr lang="pl-PL" dirty="0" err="1"/>
              <a:t>like</a:t>
            </a:r>
            <a:r>
              <a:rPr lang="pl-PL" dirty="0"/>
              <a:t> ….</a:t>
            </a:r>
          </a:p>
        </p:txBody>
      </p:sp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979BA8DF-D5A4-B87E-ED3D-DB9AA06E2736}"/>
              </a:ext>
            </a:extLst>
          </p:cNvPr>
          <p:cNvCxnSpPr>
            <a:cxnSpLocks/>
            <a:stCxn id="5" idx="3"/>
            <a:endCxn id="4" idx="1"/>
          </p:cNvCxnSpPr>
          <p:nvPr/>
        </p:nvCxnSpPr>
        <p:spPr>
          <a:xfrm>
            <a:off x="2046504" y="2314297"/>
            <a:ext cx="2000135" cy="78984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8023F27-72B7-831A-1CDE-424E375828A6}"/>
              </a:ext>
            </a:extLst>
          </p:cNvPr>
          <p:cNvSpPr txBox="1"/>
          <p:nvPr/>
        </p:nvSpPr>
        <p:spPr>
          <a:xfrm>
            <a:off x="272712" y="4125055"/>
            <a:ext cx="17737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/>
              <a:t>Dog </a:t>
            </a:r>
            <a:r>
              <a:rPr lang="pl-PL" dirty="0" err="1"/>
              <a:t>don’t</a:t>
            </a:r>
            <a:r>
              <a:rPr lang="pl-PL" dirty="0"/>
              <a:t> </a:t>
            </a:r>
            <a:r>
              <a:rPr lang="pl-PL" dirty="0" err="1"/>
              <a:t>like</a:t>
            </a:r>
            <a:r>
              <a:rPr lang="pl-PL" dirty="0"/>
              <a:t> ….</a:t>
            </a:r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76BC49A1-1A13-AAA6-80E3-26C1258300FD}"/>
              </a:ext>
            </a:extLst>
          </p:cNvPr>
          <p:cNvCxnSpPr>
            <a:cxnSpLocks/>
            <a:stCxn id="8" idx="3"/>
          </p:cNvCxnSpPr>
          <p:nvPr/>
        </p:nvCxnSpPr>
        <p:spPr>
          <a:xfrm flipV="1">
            <a:off x="2046505" y="3496836"/>
            <a:ext cx="2000134" cy="99755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8080A41-E24A-E6E0-9B2D-6C16763C425B}"/>
              </a:ext>
            </a:extLst>
          </p:cNvPr>
          <p:cNvSpPr txBox="1"/>
          <p:nvPr/>
        </p:nvSpPr>
        <p:spPr>
          <a:xfrm>
            <a:off x="8961523" y="1159553"/>
            <a:ext cx="1773793" cy="415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 err="1"/>
              <a:t>milk</a:t>
            </a:r>
            <a:endParaRPr lang="pl-PL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ED84302-403E-6DBC-078E-DE8B76A63E8C}"/>
              </a:ext>
            </a:extLst>
          </p:cNvPr>
          <p:cNvSpPr txBox="1"/>
          <p:nvPr/>
        </p:nvSpPr>
        <p:spPr>
          <a:xfrm>
            <a:off x="9261773" y="4171247"/>
            <a:ext cx="1773793" cy="415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 err="1"/>
              <a:t>cat</a:t>
            </a:r>
            <a:endParaRPr lang="pl-PL" dirty="0"/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06D6E548-1B96-3902-4422-1AB5AD30A8AA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6707328" y="3288907"/>
            <a:ext cx="2554445" cy="109013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3076F699-8359-5642-86C8-7970FC51ED39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6993722" y="1367350"/>
            <a:ext cx="1967801" cy="143191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1BC845AC-144D-5A9D-2E2D-91A0B20646EE}"/>
              </a:ext>
            </a:extLst>
          </p:cNvPr>
          <p:cNvSpPr txBox="1"/>
          <p:nvPr/>
        </p:nvSpPr>
        <p:spPr>
          <a:xfrm>
            <a:off x="2125031" y="1921791"/>
            <a:ext cx="1302628" cy="415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/>
              <a:t>Input 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E4D8CA-4532-377E-D60E-A73E2365F59A}"/>
              </a:ext>
            </a:extLst>
          </p:cNvPr>
          <p:cNvSpPr txBox="1"/>
          <p:nvPr/>
        </p:nvSpPr>
        <p:spPr>
          <a:xfrm>
            <a:off x="2083459" y="3986538"/>
            <a:ext cx="1302628" cy="415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/>
              <a:t>Input 2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360370F-9137-1C6E-0BFA-CD5C90835EEA}"/>
              </a:ext>
            </a:extLst>
          </p:cNvPr>
          <p:cNvSpPr txBox="1"/>
          <p:nvPr/>
        </p:nvSpPr>
        <p:spPr>
          <a:xfrm>
            <a:off x="6993721" y="1004886"/>
            <a:ext cx="2110997" cy="415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err="1"/>
              <a:t>Predicts</a:t>
            </a:r>
            <a:r>
              <a:rPr lang="pl-PL"/>
              <a:t> Input 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5CF965B-FA2D-DA13-EB55-9B82EDE8CBCE}"/>
              </a:ext>
            </a:extLst>
          </p:cNvPr>
          <p:cNvSpPr txBox="1"/>
          <p:nvPr/>
        </p:nvSpPr>
        <p:spPr>
          <a:xfrm>
            <a:off x="7367881" y="4355955"/>
            <a:ext cx="2110997" cy="415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err="1"/>
              <a:t>Predicts</a:t>
            </a:r>
            <a:r>
              <a:rPr lang="pl-PL"/>
              <a:t> Input 2</a:t>
            </a:r>
          </a:p>
        </p:txBody>
      </p:sp>
    </p:spTree>
    <p:extLst>
      <p:ext uri="{BB962C8B-B14F-4D97-AF65-F5344CB8AC3E}">
        <p14:creationId xmlns:p14="http://schemas.microsoft.com/office/powerpoint/2010/main" val="2447687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4010796-91EE-D7F0-C983-637F68094771}"/>
              </a:ext>
            </a:extLst>
          </p:cNvPr>
          <p:cNvSpPr/>
          <p:nvPr/>
        </p:nvSpPr>
        <p:spPr>
          <a:xfrm>
            <a:off x="4046639" y="2485157"/>
            <a:ext cx="2947082" cy="12379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/>
              <a:t>LL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162362B-C4C5-5831-74E3-42EFF745364E}"/>
              </a:ext>
            </a:extLst>
          </p:cNvPr>
          <p:cNvSpPr txBox="1"/>
          <p:nvPr/>
        </p:nvSpPr>
        <p:spPr>
          <a:xfrm>
            <a:off x="272712" y="2106500"/>
            <a:ext cx="1773793" cy="415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/>
              <a:t>[ 42,71] ….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96C76220-7D9C-FF2D-0E13-FE7A5BC95967}"/>
              </a:ext>
            </a:extLst>
          </p:cNvPr>
          <p:cNvCxnSpPr>
            <a:cxnSpLocks/>
            <a:stCxn id="5" idx="3"/>
            <a:endCxn id="4" idx="1"/>
          </p:cNvCxnSpPr>
          <p:nvPr/>
        </p:nvCxnSpPr>
        <p:spPr>
          <a:xfrm>
            <a:off x="2046504" y="2314297"/>
            <a:ext cx="2000135" cy="78984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40EDACC-7F05-807D-F05D-C37C2427160F}"/>
              </a:ext>
            </a:extLst>
          </p:cNvPr>
          <p:cNvSpPr txBox="1"/>
          <p:nvPr/>
        </p:nvSpPr>
        <p:spPr>
          <a:xfrm>
            <a:off x="272712" y="4125055"/>
            <a:ext cx="1773793" cy="415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/>
              <a:t>[43,76] ….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ABD57E-2F01-9695-BFEB-63A2C82A5E2C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2046504" y="3496836"/>
            <a:ext cx="2000135" cy="83601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7D437B7-7C79-363D-AAA7-562E41614CB7}"/>
              </a:ext>
            </a:extLst>
          </p:cNvPr>
          <p:cNvSpPr txBox="1"/>
          <p:nvPr/>
        </p:nvSpPr>
        <p:spPr>
          <a:xfrm>
            <a:off x="8961523" y="1159553"/>
            <a:ext cx="1773793" cy="415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/>
              <a:t>[85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583CE2-C956-25EE-40A5-70FCB2DAE090}"/>
              </a:ext>
            </a:extLst>
          </p:cNvPr>
          <p:cNvSpPr txBox="1"/>
          <p:nvPr/>
        </p:nvSpPr>
        <p:spPr>
          <a:xfrm>
            <a:off x="9261773" y="4171247"/>
            <a:ext cx="1773793" cy="415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/>
              <a:t>[42]</a:t>
            </a: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C0DFC274-94A9-D78B-5054-F58F404BA380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6707328" y="3288907"/>
            <a:ext cx="2554445" cy="109013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599DD460-FD62-7A6C-1BCF-5C267C3086F8}"/>
              </a:ext>
            </a:extLst>
          </p:cNvPr>
          <p:cNvCxnSpPr>
            <a:cxnSpLocks/>
            <a:endCxn id="9" idx="1"/>
          </p:cNvCxnSpPr>
          <p:nvPr/>
        </p:nvCxnSpPr>
        <p:spPr>
          <a:xfrm flipV="1">
            <a:off x="6993722" y="1367350"/>
            <a:ext cx="1967801" cy="143191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C57D561-F187-F0FD-AD14-4ADFAE242E11}"/>
              </a:ext>
            </a:extLst>
          </p:cNvPr>
          <p:cNvSpPr txBox="1"/>
          <p:nvPr/>
        </p:nvSpPr>
        <p:spPr>
          <a:xfrm>
            <a:off x="2125031" y="1921791"/>
            <a:ext cx="1302628" cy="415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/>
              <a:t>Input 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7B4474-0E3F-B3E9-AF63-E8397AF3ED83}"/>
              </a:ext>
            </a:extLst>
          </p:cNvPr>
          <p:cNvSpPr txBox="1"/>
          <p:nvPr/>
        </p:nvSpPr>
        <p:spPr>
          <a:xfrm>
            <a:off x="2083459" y="3986538"/>
            <a:ext cx="1302628" cy="415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/>
              <a:t>Input 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22CB3D5-5437-20CA-ADE9-5CAB92F7669C}"/>
              </a:ext>
            </a:extLst>
          </p:cNvPr>
          <p:cNvSpPr txBox="1"/>
          <p:nvPr/>
        </p:nvSpPr>
        <p:spPr>
          <a:xfrm>
            <a:off x="7150777" y="1067198"/>
            <a:ext cx="2110997" cy="415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err="1"/>
              <a:t>Predicts</a:t>
            </a:r>
            <a:r>
              <a:rPr lang="pl-PL"/>
              <a:t> Input 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2DD443D-DEB6-64D7-C356-97DB436E3776}"/>
              </a:ext>
            </a:extLst>
          </p:cNvPr>
          <p:cNvSpPr txBox="1"/>
          <p:nvPr/>
        </p:nvSpPr>
        <p:spPr>
          <a:xfrm>
            <a:off x="7367881" y="4355955"/>
            <a:ext cx="2110997" cy="415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err="1"/>
              <a:t>Predicts</a:t>
            </a:r>
            <a:r>
              <a:rPr lang="pl-PL"/>
              <a:t> Input 2</a:t>
            </a: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E30960A7-83C5-C311-C52E-0148AFB6A59B}"/>
              </a:ext>
            </a:extLst>
          </p:cNvPr>
          <p:cNvCxnSpPr/>
          <p:nvPr/>
        </p:nvCxnSpPr>
        <p:spPr>
          <a:xfrm rot="16200000" flipH="1">
            <a:off x="8072283" y="2718460"/>
            <a:ext cx="2596085" cy="21710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0965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rdea">
  <a:themeElements>
    <a:clrScheme name="Nordea">
      <a:dk1>
        <a:sysClr val="windowText" lastClr="000000"/>
      </a:dk1>
      <a:lt1>
        <a:sysClr val="window" lastClr="FFFFFF"/>
      </a:lt1>
      <a:dk2>
        <a:srgbClr val="00005E"/>
      </a:dk2>
      <a:lt2>
        <a:srgbClr val="0000A0"/>
      </a:lt2>
      <a:accent1>
        <a:srgbClr val="00005E"/>
      </a:accent1>
      <a:accent2>
        <a:srgbClr val="3399FF"/>
      </a:accent2>
      <a:accent3>
        <a:srgbClr val="99CCFF"/>
      </a:accent3>
      <a:accent4>
        <a:srgbClr val="FBD9CA"/>
      </a:accent4>
      <a:accent5>
        <a:srgbClr val="C9C7C7"/>
      </a:accent5>
      <a:accent6>
        <a:srgbClr val="474748"/>
      </a:accent6>
      <a:hlink>
        <a:srgbClr val="000000"/>
      </a:hlink>
      <a:folHlink>
        <a:srgbClr val="3399FF"/>
      </a:folHlink>
    </a:clrScheme>
    <a:fontScheme name="Nordea 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8B8A8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/>
  <a:custClrLst>
    <a:custClr name="Nordea Deep Blue B5">
      <a:srgbClr val="00005E"/>
    </a:custClr>
    <a:custClr name="Nordea Blue B4">
      <a:srgbClr val="0000A0"/>
    </a:custClr>
    <a:custClr name="Nordea Vivid Blue B3">
      <a:srgbClr val="0000FF"/>
    </a:custClr>
    <a:custClr name="Nordea Medium Blue B2">
      <a:srgbClr val="3399FF"/>
    </a:custClr>
    <a:custClr name="Nordea Light Blue B1">
      <a:srgbClr val="99CCFF"/>
    </a:custClr>
    <a:custClr name="Nordea Dark Pink P3">
      <a:srgbClr val="F0C1AE"/>
    </a:custClr>
    <a:custClr name="Nordea Pink P2">
      <a:srgbClr val="FBD9CA"/>
    </a:custClr>
    <a:custClr name="Nordea Light Pink P1">
      <a:srgbClr val="FDECE4"/>
    </a:custClr>
    <a:custClr name="Nordea Dark Gray G4">
      <a:srgbClr val="474748"/>
    </a:custClr>
    <a:custClr name="Nordea Gray G3">
      <a:srgbClr val="8B8A8D"/>
    </a:custClr>
    <a:custClr name="Nordea Medium Gray G2">
      <a:srgbClr val="C9C7C7"/>
    </a:custClr>
    <a:custClr name="Nordea Light Gray G1">
      <a:srgbClr val="E6E4E3"/>
    </a:custClr>
    <a:custClr name="Nordea Accent Red">
      <a:srgbClr val="FF5959"/>
    </a:custClr>
    <a:custClr name="Nordea Accent Yellow">
      <a:srgbClr val="FFE183"/>
    </a:custClr>
    <a:custClr name="Nordea Accent Green">
      <a:srgbClr val="40BFA3"/>
    </a:custClr>
  </a:custClrLst>
</a:theme>
</file>

<file path=ppt/theme/theme2.xml><?xml version="1.0" encoding="utf-8"?>
<a:theme xmlns:a="http://schemas.openxmlformats.org/drawingml/2006/main" name="2_Nordea">
  <a:themeElements>
    <a:clrScheme name="Nordea">
      <a:dk1>
        <a:sysClr val="windowText" lastClr="000000"/>
      </a:dk1>
      <a:lt1>
        <a:sysClr val="window" lastClr="FFFFFF"/>
      </a:lt1>
      <a:dk2>
        <a:srgbClr val="00005E"/>
      </a:dk2>
      <a:lt2>
        <a:srgbClr val="0000A0"/>
      </a:lt2>
      <a:accent1>
        <a:srgbClr val="0000A0"/>
      </a:accent1>
      <a:accent2>
        <a:srgbClr val="3399FF"/>
      </a:accent2>
      <a:accent3>
        <a:srgbClr val="99CCFF"/>
      </a:accent3>
      <a:accent4>
        <a:srgbClr val="FBD9CA"/>
      </a:accent4>
      <a:accent5>
        <a:srgbClr val="C9C7C7"/>
      </a:accent5>
      <a:accent6>
        <a:srgbClr val="474748"/>
      </a:accent6>
      <a:hlink>
        <a:srgbClr val="000000"/>
      </a:hlink>
      <a:folHlink>
        <a:srgbClr val="3399FF"/>
      </a:folHlink>
    </a:clrScheme>
    <a:fontScheme name="Norde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8B8A8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/>
  <a:custClrLst>
    <a:custClr name="Nordea Deep Blue B5">
      <a:srgbClr val="00005E"/>
    </a:custClr>
    <a:custClr name="Nordea Blue B4">
      <a:srgbClr val="0000A0"/>
    </a:custClr>
    <a:custClr name="Nordea Vivid Blue B3">
      <a:srgbClr val="0000FF"/>
    </a:custClr>
    <a:custClr name="Nordea Medium Blue B2">
      <a:srgbClr val="3399FF"/>
    </a:custClr>
    <a:custClr name="Nordea Light Blue B1">
      <a:srgbClr val="99CCFF"/>
    </a:custClr>
    <a:custClr name="Nordea Dark Pink P3">
      <a:srgbClr val="F0C1AE"/>
    </a:custClr>
    <a:custClr name="Nordea Pink P2">
      <a:srgbClr val="FBD9CA"/>
    </a:custClr>
    <a:custClr name="Nordea Light Pink P1">
      <a:srgbClr val="FDECE4"/>
    </a:custClr>
    <a:custClr name="Nordea Dark Gray G4">
      <a:srgbClr val="474748"/>
    </a:custClr>
    <a:custClr name="Nordea Gray G3">
      <a:srgbClr val="8B8A8D"/>
    </a:custClr>
    <a:custClr name="Nordea Medium Gray G2">
      <a:srgbClr val="C9C7C7"/>
    </a:custClr>
    <a:custClr name="Nordea Light Gray G1">
      <a:srgbClr val="E6E4E3"/>
    </a:custClr>
    <a:custClr name="Nordea Accent Red">
      <a:srgbClr val="FF5959"/>
    </a:custClr>
    <a:custClr name="Nordea Accent Yellow">
      <a:srgbClr val="FFE183"/>
    </a:custClr>
    <a:custClr name="Nordea Accent Green">
      <a:srgbClr val="40BFA3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88</TotalTime>
  <Words>2454</Words>
  <Application>Microsoft Office PowerPoint</Application>
  <PresentationFormat>Custom</PresentationFormat>
  <Paragraphs>330</Paragraphs>
  <Slides>4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48" baseType="lpstr">
      <vt:lpstr>Arial</vt:lpstr>
      <vt:lpstr>Calibri</vt:lpstr>
      <vt:lpstr>Nordea Sans Large Black</vt:lpstr>
      <vt:lpstr>Nordea Sans Small</vt:lpstr>
      <vt:lpstr>Nordea</vt:lpstr>
      <vt:lpstr>2_Nordea</vt:lpstr>
      <vt:lpstr>think-cell Slide</vt:lpstr>
      <vt:lpstr>Prompt Engineering </vt:lpstr>
      <vt:lpstr>About me</vt:lpstr>
      <vt:lpstr>Przedwstęp</vt:lpstr>
      <vt:lpstr>PowerPoint Presentation</vt:lpstr>
      <vt:lpstr>LLM</vt:lpstr>
      <vt:lpstr>How to chat with LLM Models ?</vt:lpstr>
      <vt:lpstr>Tokens</vt:lpstr>
      <vt:lpstr>PowerPoint Presentation</vt:lpstr>
      <vt:lpstr>PowerPoint Presentation</vt:lpstr>
      <vt:lpstr>PowerPoint Presentation</vt:lpstr>
      <vt:lpstr>Model Autoregrersyjny architektura transformers</vt:lpstr>
      <vt:lpstr>PowerPoint Presentation</vt:lpstr>
      <vt:lpstr>Prompt Engineering (inżynieria poleceń)</vt:lpstr>
      <vt:lpstr>PowerPoint Presentation</vt:lpstr>
      <vt:lpstr>Anatomia prompt’a</vt:lpstr>
      <vt:lpstr>Jeszcze raz o liczbie PI</vt:lpstr>
      <vt:lpstr>Ważny aspekt </vt:lpstr>
      <vt:lpstr>Input (Context)</vt:lpstr>
      <vt:lpstr>Zapytajmy</vt:lpstr>
      <vt:lpstr>Inna metoda</vt:lpstr>
      <vt:lpstr>Ekstrakcja</vt:lpstr>
      <vt:lpstr>Ekstrakcja</vt:lpstr>
      <vt:lpstr>Ektrakcja zaawansowana:</vt:lpstr>
      <vt:lpstr>Techniki pracy Zero-Shot</vt:lpstr>
      <vt:lpstr>Multi-Shot</vt:lpstr>
      <vt:lpstr>Prompt Chaining</vt:lpstr>
      <vt:lpstr>Prompt Chaining</vt:lpstr>
      <vt:lpstr>PowerPoint Presentation</vt:lpstr>
      <vt:lpstr>Środowisko pracy i zabawy</vt:lpstr>
      <vt:lpstr>Negocjacje z modelem </vt:lpstr>
      <vt:lpstr>Przykład</vt:lpstr>
      <vt:lpstr>Wykorzystanie LLM</vt:lpstr>
      <vt:lpstr>A co możemy teraz ? </vt:lpstr>
      <vt:lpstr>A co możemy teraz</vt:lpstr>
      <vt:lpstr>Chatbot</vt:lpstr>
      <vt:lpstr>Chatbot</vt:lpstr>
      <vt:lpstr>Przyszłość</vt:lpstr>
      <vt:lpstr>Przyszłość</vt:lpstr>
      <vt:lpstr>Szkolenia</vt:lpstr>
      <vt:lpstr>Youtube</vt:lpstr>
      <vt:lpstr>Dziękuję za uwagę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mpt Engineering</dc:title>
  <dc:creator>Gajda Jakub</dc:creator>
  <cp:lastModifiedBy>Gajda Jakub</cp:lastModifiedBy>
  <cp:revision>4</cp:revision>
  <dcterms:created xsi:type="dcterms:W3CDTF">2016-03-23T08:04:09Z</dcterms:created>
  <dcterms:modified xsi:type="dcterms:W3CDTF">2024-01-29T08:2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ec17ee5-d002-416f-a486-c5f1fad2d957_Enabled">
    <vt:lpwstr>true</vt:lpwstr>
  </property>
  <property fmtid="{D5CDD505-2E9C-101B-9397-08002B2CF9AE}" pid="3" name="MSIP_Label_5ec17ee5-d002-416f-a486-c5f1fad2d957_SetDate">
    <vt:lpwstr>2023-10-23T07:59:23Z</vt:lpwstr>
  </property>
  <property fmtid="{D5CDD505-2E9C-101B-9397-08002B2CF9AE}" pid="4" name="MSIP_Label_5ec17ee5-d002-416f-a486-c5f1fad2d957_Method">
    <vt:lpwstr>Privileged</vt:lpwstr>
  </property>
  <property fmtid="{D5CDD505-2E9C-101B-9397-08002B2CF9AE}" pid="5" name="MSIP_Label_5ec17ee5-d002-416f-a486-c5f1fad2d957_Name">
    <vt:lpwstr>Open</vt:lpwstr>
  </property>
  <property fmtid="{D5CDD505-2E9C-101B-9397-08002B2CF9AE}" pid="6" name="MSIP_Label_5ec17ee5-d002-416f-a486-c5f1fad2d957_SiteId">
    <vt:lpwstr>8beccd60-0be6-4025-8e24-ca9ae679e1f4</vt:lpwstr>
  </property>
  <property fmtid="{D5CDD505-2E9C-101B-9397-08002B2CF9AE}" pid="7" name="MSIP_Label_5ec17ee5-d002-416f-a486-c5f1fad2d957_ActionId">
    <vt:lpwstr>cc834f05-9580-4e0d-981d-6989eb507cbf</vt:lpwstr>
  </property>
  <property fmtid="{D5CDD505-2E9C-101B-9397-08002B2CF9AE}" pid="8" name="MSIP_Label_5ec17ee5-d002-416f-a486-c5f1fad2d957_ContentBits">
    <vt:lpwstr>0</vt:lpwstr>
  </property>
</Properties>
</file>